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6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7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9.xml" ContentType="application/vnd.openxmlformats-officedocument.them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72" r:id="rId6"/>
    <p:sldMasterId id="2147483678" r:id="rId7"/>
    <p:sldMasterId id="2147483684" r:id="rId8"/>
    <p:sldMasterId id="2147483836" r:id="rId9"/>
    <p:sldMasterId id="2147483908" r:id="rId10"/>
    <p:sldMasterId id="2147483933" r:id="rId11"/>
    <p:sldMasterId id="2147483960" r:id="rId12"/>
  </p:sldMasterIdLst>
  <p:notesMasterIdLst>
    <p:notesMasterId r:id="rId34"/>
  </p:notesMasterIdLst>
  <p:handoutMasterIdLst>
    <p:handoutMasterId r:id="rId35"/>
  </p:handoutMasterIdLst>
  <p:sldIdLst>
    <p:sldId id="2147469216" r:id="rId13"/>
    <p:sldId id="261" r:id="rId14"/>
    <p:sldId id="2147469161" r:id="rId15"/>
    <p:sldId id="2147469219" r:id="rId16"/>
    <p:sldId id="2147469071" r:id="rId17"/>
    <p:sldId id="2147469192" r:id="rId18"/>
    <p:sldId id="2147469204" r:id="rId19"/>
    <p:sldId id="2147469196" r:id="rId20"/>
    <p:sldId id="2147469189" r:id="rId21"/>
    <p:sldId id="2147469207" r:id="rId22"/>
    <p:sldId id="2147469208" r:id="rId23"/>
    <p:sldId id="2147469209" r:id="rId24"/>
    <p:sldId id="2147469210" r:id="rId25"/>
    <p:sldId id="2147469215" r:id="rId26"/>
    <p:sldId id="2147469211" r:id="rId27"/>
    <p:sldId id="2147469212" r:id="rId28"/>
    <p:sldId id="2147469220" r:id="rId29"/>
    <p:sldId id="2147469213" r:id="rId30"/>
    <p:sldId id="2147469217" r:id="rId31"/>
    <p:sldId id="2147469214" r:id="rId32"/>
    <p:sldId id="2147469218" r:id="rId33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755EDD-4365-FDE8-CBEF-75F4B6C86D44}" name="McAlindon, Julie A" initials="MA" userId="S::u776120@emn.com::3ff718c2-aee9-4741-991e-07acc2d6f18b" providerId="AD"/>
  <p188:author id="{6C9B8BE7-CDA6-D102-0A78-22D7A1DB7436}" name="Morton, R Thomas" initials="MRT" userId="S::u791148@emn.com::991d1067-3dc0-4691-8376-7f7a2bd8f440" providerId="AD"/>
  <p188:author id="{D48614FB-BC4D-D2C7-28C1-EA81BC39A999}" name="Thorne, Jason Carl" initials="TJC" userId="S::u212872@emn.com::5fc04b68-69bc-462e-b841-8b0f3f73789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1FA"/>
    <a:srgbClr val="008080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1069" autoAdjust="0"/>
  </p:normalViewPr>
  <p:slideViewPr>
    <p:cSldViewPr snapToGrid="0">
      <p:cViewPr varScale="1">
        <p:scale>
          <a:sx n="107" d="100"/>
          <a:sy n="107" d="100"/>
        </p:scale>
        <p:origin x="402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3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ableStyles" Target="tableStyles.xml"/><Relationship Id="rId21" Type="http://schemas.openxmlformats.org/officeDocument/2006/relationships/slide" Target="slides/slide9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bbie Knaack" userId="b0c2ed47-4648-49fa-844f-7e5ecaf53b85" providerId="ADAL" clId="{8281A8D0-E59C-41A3-A723-94E9E8FC3565}"/>
    <pc:docChg chg="custSel modSld">
      <pc:chgData name="Debbie Knaack" userId="b0c2ed47-4648-49fa-844f-7e5ecaf53b85" providerId="ADAL" clId="{8281A8D0-E59C-41A3-A723-94E9E8FC3565}" dt="2022-06-05T07:15:02.282" v="72" actId="20577"/>
      <pc:docMkLst>
        <pc:docMk/>
      </pc:docMkLst>
      <pc:sldChg chg="delSp modSp mod">
        <pc:chgData name="Debbie Knaack" userId="b0c2ed47-4648-49fa-844f-7e5ecaf53b85" providerId="ADAL" clId="{8281A8D0-E59C-41A3-A723-94E9E8FC3565}" dt="2022-06-05T07:15:02.282" v="72" actId="20577"/>
        <pc:sldMkLst>
          <pc:docMk/>
          <pc:sldMk cId="1600055044" sldId="2147469216"/>
        </pc:sldMkLst>
        <pc:spChg chg="del mod">
          <ac:chgData name="Debbie Knaack" userId="b0c2ed47-4648-49fa-844f-7e5ecaf53b85" providerId="ADAL" clId="{8281A8D0-E59C-41A3-A723-94E9E8FC3565}" dt="2022-06-05T07:14:55.137" v="69" actId="478"/>
          <ac:spMkLst>
            <pc:docMk/>
            <pc:sldMk cId="1600055044" sldId="2147469216"/>
            <ac:spMk id="4" creationId="{ABA80542-34FB-4036-9243-BF79B77C2FA6}"/>
          </ac:spMkLst>
        </pc:spChg>
        <pc:spChg chg="mod">
          <ac:chgData name="Debbie Knaack" userId="b0c2ed47-4648-49fa-844f-7e5ecaf53b85" providerId="ADAL" clId="{8281A8D0-E59C-41A3-A723-94E9E8FC3565}" dt="2022-06-05T07:15:02.282" v="72" actId="20577"/>
          <ac:spMkLst>
            <pc:docMk/>
            <pc:sldMk cId="1600055044" sldId="2147469216"/>
            <ac:spMk id="7" creationId="{CF2CDD35-9553-42FC-9885-36BC295BADF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9D7CC15-D4AC-444F-AD45-89B864F1D4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065" cy="470394"/>
          </a:xfrm>
          <a:prstGeom prst="rect">
            <a:avLst/>
          </a:prstGeom>
        </p:spPr>
        <p:txBody>
          <a:bodyPr vert="horz" lIns="93342" tIns="46671" rIns="93342" bIns="4667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E6051-AE41-4771-BC3F-FEC08C7BECC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85" y="1"/>
            <a:ext cx="3078065" cy="470394"/>
          </a:xfrm>
          <a:prstGeom prst="rect">
            <a:avLst/>
          </a:prstGeom>
        </p:spPr>
        <p:txBody>
          <a:bodyPr vert="horz" lIns="93342" tIns="46671" rIns="93342" bIns="46671" rtlCol="0"/>
          <a:lstStyle>
            <a:lvl1pPr algn="r">
              <a:defRPr sz="1200"/>
            </a:lvl1pPr>
          </a:lstStyle>
          <a:p>
            <a:fld id="{E32B4DED-7384-4002-BC63-C766A6022277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FF65CF-4C3F-463C-AD11-5F230ADCF43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082"/>
            <a:ext cx="3078065" cy="470393"/>
          </a:xfrm>
          <a:prstGeom prst="rect">
            <a:avLst/>
          </a:prstGeom>
        </p:spPr>
        <p:txBody>
          <a:bodyPr vert="horz" lIns="93342" tIns="46671" rIns="93342" bIns="4667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83EB3F-612D-42D2-9A7A-4BD1B42C9F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85" y="8918082"/>
            <a:ext cx="3078065" cy="470393"/>
          </a:xfrm>
          <a:prstGeom prst="rect">
            <a:avLst/>
          </a:prstGeom>
        </p:spPr>
        <p:txBody>
          <a:bodyPr vert="horz" lIns="93342" tIns="46671" rIns="93342" bIns="46671" rtlCol="0" anchor="b"/>
          <a:lstStyle>
            <a:lvl1pPr algn="r">
              <a:defRPr sz="1200"/>
            </a:lvl1pPr>
          </a:lstStyle>
          <a:p>
            <a:fld id="{BF8476A1-3855-4635-91B6-5C8C46DD0AB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86726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7739" cy="471054"/>
          </a:xfrm>
          <a:prstGeom prst="rect">
            <a:avLst/>
          </a:prstGeom>
        </p:spPr>
        <p:txBody>
          <a:bodyPr vert="horz" lIns="94221" tIns="47110" rIns="94221" bIns="4711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2"/>
            <a:ext cx="3077739" cy="471054"/>
          </a:xfrm>
          <a:prstGeom prst="rect">
            <a:avLst/>
          </a:prstGeom>
        </p:spPr>
        <p:txBody>
          <a:bodyPr vert="horz" lIns="94221" tIns="47110" rIns="94221" bIns="47110" rtlCol="0"/>
          <a:lstStyle>
            <a:lvl1pPr algn="r">
              <a:defRPr sz="1200"/>
            </a:lvl1pPr>
          </a:lstStyle>
          <a:p>
            <a:fld id="{C8EDBEFB-5F85-46E6-B084-DEA3C6619444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1" tIns="47110" rIns="94221" bIns="4711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3"/>
            <a:ext cx="5681980" cy="3696712"/>
          </a:xfrm>
          <a:prstGeom prst="rect">
            <a:avLst/>
          </a:prstGeom>
        </p:spPr>
        <p:txBody>
          <a:bodyPr vert="horz" lIns="94221" tIns="47110" rIns="94221" bIns="471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3"/>
            <a:ext cx="3077739" cy="471053"/>
          </a:xfrm>
          <a:prstGeom prst="rect">
            <a:avLst/>
          </a:prstGeom>
        </p:spPr>
        <p:txBody>
          <a:bodyPr vert="horz" lIns="94221" tIns="47110" rIns="94221" bIns="4711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3"/>
            <a:ext cx="3077739" cy="471053"/>
          </a:xfrm>
          <a:prstGeom prst="rect">
            <a:avLst/>
          </a:prstGeom>
        </p:spPr>
        <p:txBody>
          <a:bodyPr vert="horz" lIns="94221" tIns="47110" rIns="94221" bIns="47110" rtlCol="0" anchor="b"/>
          <a:lstStyle>
            <a:lvl1pPr algn="r">
              <a:defRPr sz="1200"/>
            </a:lvl1pPr>
          </a:lstStyle>
          <a:p>
            <a:fld id="{E0DB540A-B120-4BBB-B0C3-C500052F2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422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DB540A-B120-4BBB-B0C3-C500052F26D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7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DB540A-B120-4BBB-B0C3-C500052F26D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010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image" Target="../media/image7.emf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7.xml"/><Relationship Id="rId11" Type="http://schemas.openxmlformats.org/officeDocument/2006/relationships/image" Target="../media/image11.png"/><Relationship Id="rId5" Type="http://schemas.openxmlformats.org/officeDocument/2006/relationships/tags" Target="../tags/tag149.xml"/><Relationship Id="rId10" Type="http://schemas.openxmlformats.org/officeDocument/2006/relationships/image" Target="../media/image8.png"/><Relationship Id="rId4" Type="http://schemas.openxmlformats.org/officeDocument/2006/relationships/tags" Target="../tags/tag148.xml"/><Relationship Id="rId9" Type="http://schemas.openxmlformats.org/officeDocument/2006/relationships/image" Target="../media/image10.jpe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7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4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9.emf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9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71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9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9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8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8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image" Target="../media/image7.emf"/><Relationship Id="rId5" Type="http://schemas.openxmlformats.org/officeDocument/2006/relationships/tags" Target="../tags/tag186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85.xml"/><Relationship Id="rId9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image" Target="../media/image8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image" Target="../media/image7.emf"/><Relationship Id="rId5" Type="http://schemas.openxmlformats.org/officeDocument/2006/relationships/tags" Target="../tags/tag194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193.xml"/><Relationship Id="rId9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image" Target="../media/image8.png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image" Target="../media/image7.emf"/><Relationship Id="rId5" Type="http://schemas.openxmlformats.org/officeDocument/2006/relationships/tags" Target="../tags/tag202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01.xml"/><Relationship Id="rId9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image" Target="../media/image8.pn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image" Target="../media/image12.emf"/><Relationship Id="rId5" Type="http://schemas.openxmlformats.org/officeDocument/2006/relationships/tags" Target="../tags/tag210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09.xml"/><Relationship Id="rId9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png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image" Target="../media/image7.emf"/><Relationship Id="rId5" Type="http://schemas.openxmlformats.org/officeDocument/2006/relationships/tags" Target="../tags/tag218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image" Target="../media/image8.png"/><Relationship Id="rId5" Type="http://schemas.openxmlformats.org/officeDocument/2006/relationships/tags" Target="../tags/tag226.xml"/><Relationship Id="rId10" Type="http://schemas.openxmlformats.org/officeDocument/2006/relationships/image" Target="../media/image9.emf"/><Relationship Id="rId4" Type="http://schemas.openxmlformats.org/officeDocument/2006/relationships/tags" Target="../tags/tag225.xml"/><Relationship Id="rId9" Type="http://schemas.openxmlformats.org/officeDocument/2006/relationships/oleObject" Target="../embeddings/oleObject34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1.xml"/><Relationship Id="rId7" Type="http://schemas.openxmlformats.org/officeDocument/2006/relationships/image" Target="../media/image9.emf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3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3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38.bin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slideMaster" Target="../slideMasters/slideMaster8.xml"/><Relationship Id="rId11" Type="http://schemas.openxmlformats.org/officeDocument/2006/relationships/image" Target="../media/image11.png"/><Relationship Id="rId5" Type="http://schemas.openxmlformats.org/officeDocument/2006/relationships/tags" Target="../tags/tag259.xml"/><Relationship Id="rId10" Type="http://schemas.openxmlformats.org/officeDocument/2006/relationships/image" Target="../media/image8.png"/><Relationship Id="rId4" Type="http://schemas.openxmlformats.org/officeDocument/2006/relationships/tags" Target="../tags/tag258.xml"/><Relationship Id="rId9" Type="http://schemas.openxmlformats.org/officeDocument/2006/relationships/image" Target="../media/image10.jpe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10" Type="http://schemas.openxmlformats.org/officeDocument/2006/relationships/image" Target="../media/image7.emf"/><Relationship Id="rId4" Type="http://schemas.openxmlformats.org/officeDocument/2006/relationships/tags" Target="../tags/tag263.xml"/><Relationship Id="rId9" Type="http://schemas.openxmlformats.org/officeDocument/2006/relationships/oleObject" Target="../embeddings/oleObject39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69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image" Target="../media/image9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27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image" Target="../media/image9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81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5" Type="http://schemas.openxmlformats.org/officeDocument/2006/relationships/tags" Target="../tags/tag283.xml"/><Relationship Id="rId4" Type="http://schemas.openxmlformats.org/officeDocument/2006/relationships/tags" Target="../tags/tag282.xml"/><Relationship Id="rId9" Type="http://schemas.openxmlformats.org/officeDocument/2006/relationships/image" Target="../media/image9.emf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5" Type="http://schemas.openxmlformats.org/officeDocument/2006/relationships/tags" Target="../tags/tag289.xml"/><Relationship Id="rId10" Type="http://schemas.openxmlformats.org/officeDocument/2006/relationships/image" Target="../media/image9.emf"/><Relationship Id="rId4" Type="http://schemas.openxmlformats.org/officeDocument/2006/relationships/tags" Target="../tags/tag288.xml"/><Relationship Id="rId9" Type="http://schemas.openxmlformats.org/officeDocument/2006/relationships/oleObject" Target="../embeddings/oleObject43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8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image" Target="../media/image7.emf"/><Relationship Id="rId5" Type="http://schemas.openxmlformats.org/officeDocument/2006/relationships/tags" Target="../tags/tag29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295.xml"/><Relationship Id="rId9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8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image" Target="../media/image7.emf"/><Relationship Id="rId5" Type="http://schemas.openxmlformats.org/officeDocument/2006/relationships/tags" Target="../tags/tag30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03.xml"/><Relationship Id="rId9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8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image" Target="../media/image7.emf"/><Relationship Id="rId5" Type="http://schemas.openxmlformats.org/officeDocument/2006/relationships/tags" Target="../tags/tag312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11.xml"/><Relationship Id="rId9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image" Target="../media/image8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image" Target="../media/image12.emf"/><Relationship Id="rId5" Type="http://schemas.openxmlformats.org/officeDocument/2006/relationships/tags" Target="../tags/tag320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19.xml"/><Relationship Id="rId9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image" Target="../media/image8.png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11" Type="http://schemas.openxmlformats.org/officeDocument/2006/relationships/image" Target="../media/image7.emf"/><Relationship Id="rId5" Type="http://schemas.openxmlformats.org/officeDocument/2006/relationships/tags" Target="../tags/tag328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image" Target="../media/image8.png"/><Relationship Id="rId5" Type="http://schemas.openxmlformats.org/officeDocument/2006/relationships/tags" Target="../tags/tag336.xml"/><Relationship Id="rId10" Type="http://schemas.openxmlformats.org/officeDocument/2006/relationships/image" Target="../media/image9.emf"/><Relationship Id="rId4" Type="http://schemas.openxmlformats.org/officeDocument/2006/relationships/tags" Target="../tags/tag335.xml"/><Relationship Id="rId9" Type="http://schemas.openxmlformats.org/officeDocument/2006/relationships/oleObject" Target="../embeddings/oleObject49.bin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41.xml"/><Relationship Id="rId7" Type="http://schemas.openxmlformats.org/officeDocument/2006/relationships/image" Target="../media/image9.emf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4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3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4.xml"/><Relationship Id="rId4" Type="http://schemas.openxmlformats.org/officeDocument/2006/relationships/image" Target="../media/image13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2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0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8.xml"/><Relationship Id="rId4" Type="http://schemas.openxmlformats.org/officeDocument/2006/relationships/image" Target="../media/image55.emf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351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tags" Target="../tags/tag354.xml"/><Relationship Id="rId5" Type="http://schemas.openxmlformats.org/officeDocument/2006/relationships/tags" Target="../tags/tag353.xml"/><Relationship Id="rId4" Type="http://schemas.openxmlformats.org/officeDocument/2006/relationships/tags" Target="../tags/tag352.xml"/><Relationship Id="rId9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1.pn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7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9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8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7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8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7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7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12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7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8.png"/><Relationship Id="rId5" Type="http://schemas.openxmlformats.org/officeDocument/2006/relationships/tags" Target="../tags/tag103.xml"/><Relationship Id="rId10" Type="http://schemas.openxmlformats.org/officeDocument/2006/relationships/image" Target="../media/image9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8.xml"/><Relationship Id="rId7" Type="http://schemas.openxmlformats.org/officeDocument/2006/relationships/image" Target="../media/image9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0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1.xml"/><Relationship Id="rId4" Type="http://schemas.openxmlformats.org/officeDocument/2006/relationships/image" Target="../media/image13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7.xml"/><Relationship Id="rId4" Type="http://schemas.openxmlformats.org/officeDocument/2006/relationships/image" Target="../media/image55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0F9BAB-94DA-B64B-89E5-87EB562657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075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3535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57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17DCC2-D1CC-44E6-9CFD-114E4AC6D87E}"/>
              </a:ext>
            </a:extLst>
          </p:cNvPr>
          <p:cNvSpPr/>
          <p:nvPr userDrawn="1"/>
        </p:nvSpPr>
        <p:spPr>
          <a:xfrm>
            <a:off x="10822329" y="6539696"/>
            <a:ext cx="1273215" cy="23149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110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224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82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41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230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37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3434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8017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6406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39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763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9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4260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51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37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81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14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6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5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4F9470FF-009F-C24C-A252-45D4D3548B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3057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07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0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900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13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775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81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483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11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29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2875"/>
            <a:ext cx="10972800" cy="13849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8B002-E903-4747-A9B7-1D58FFC96E2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71848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0"/>
            <a:ext cx="12192000" cy="1524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56"/>
                </a:solidFill>
                <a:effectLst/>
                <a:uLnTx/>
                <a:uFillTx/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408916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95315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434858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309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E59B1394-5ED8-B44F-9E94-F7B1E0252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59441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3244155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38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81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378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6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0496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16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9006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917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6916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524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1788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80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9089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23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1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688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4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81793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71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06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8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00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24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8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37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7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518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65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727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47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7613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2875"/>
            <a:ext cx="10972800" cy="13849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8B002-E903-4747-A9B7-1D58FFC96E2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10096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3" imgH="394" progId="TCLayout.ActiveDocument.1">
                  <p:embed/>
                </p:oleObj>
              </mc:Choice>
              <mc:Fallback>
                <p:oleObj name="think-cell Slide" r:id="rId3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0" cy="3341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51600"/>
            <a:ext cx="11188700" cy="757255"/>
          </a:xfrm>
        </p:spPr>
        <p:txBody>
          <a:bodyPr/>
          <a:lstStyle>
            <a:lvl1pPr marL="0" indent="0">
              <a:buNone/>
              <a:defRPr baseline="0"/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3668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DAAC1-8812-4926-A31C-BDA882712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01923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0"/>
            <a:ext cx="12192000" cy="1524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56"/>
                </a:solidFill>
                <a:effectLst/>
                <a:uLnTx/>
                <a:uFillTx/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2568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93822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3649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285833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5491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06612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BC15A-A08E-5346-B61B-7A66A17ED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60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87A6C3-EDCF-784F-82DF-BD493E4758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93917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p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325563"/>
            <a:ext cx="10972800" cy="4619625"/>
          </a:xfrm>
        </p:spPr>
        <p:txBody>
          <a:bodyPr>
            <a:normAutofit/>
          </a:bodyPr>
          <a:lstStyle>
            <a:lvl1pPr marL="3175" indent="-3175">
              <a:spcAft>
                <a:spcPts val="0"/>
              </a:spcAft>
              <a:buNone/>
              <a:tabLst/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</a:p>
        </p:txBody>
      </p:sp>
      <p:sp>
        <p:nvSpPr>
          <p:cNvPr id="10" name="Title 14"/>
          <p:cNvSpPr>
            <a:spLocks noGrp="1"/>
          </p:cNvSpPr>
          <p:nvPr>
            <p:ph type="title"/>
          </p:nvPr>
        </p:nvSpPr>
        <p:spPr>
          <a:xfrm>
            <a:off x="609603" y="274643"/>
            <a:ext cx="8536687" cy="369332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333333">
                    <a:tint val="75000"/>
                  </a:srgbClr>
                </a:solidFill>
                <a:latin typeface="Calibri"/>
              </a:rPr>
              <a:t>Quest Diagnostics | |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469AB-2381-4D7B-974D-F535B96D0CCD}" type="slidenum">
              <a:rPr lang="en-US">
                <a:latin typeface="Calibri"/>
              </a:rPr>
              <a:pPr>
                <a:defRPr/>
              </a:pPr>
              <a:t>‹#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08448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7979" y="780722"/>
            <a:ext cx="11254420" cy="2769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lang="en-US" sz="1800" i="1" kern="1200" spc="-50" baseline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7980" y="651726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983B6E-BDFF-4351-83B0-EF1E0EE152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980" y="372559"/>
            <a:ext cx="11254419" cy="369332"/>
          </a:xfrm>
          <a:prstGeom prst="rect">
            <a:avLst/>
          </a:prstGeom>
        </p:spPr>
        <p:txBody>
          <a:bodyPr anchor="b" anchorCtr="0"/>
          <a:lstStyle>
            <a:lvl1pPr>
              <a:defRPr sz="2400" b="1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44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</p:spPr>
        <p:txBody>
          <a:bodyPr lIns="182880" tIns="182880"/>
          <a:lstStyle>
            <a:lvl1pPr>
              <a:defRPr sz="1999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5" y="1789608"/>
            <a:ext cx="10972801" cy="1670287"/>
          </a:xfrm>
        </p:spPr>
        <p:txBody>
          <a:bodyPr anchor="b" anchorCtr="0">
            <a:noAutofit/>
          </a:bodyPr>
          <a:lstStyle>
            <a:lvl1pPr algn="l">
              <a:defRPr sz="6131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1" cy="1578232"/>
          </a:xfrm>
        </p:spPr>
        <p:txBody>
          <a:bodyPr/>
          <a:lstStyle>
            <a:lvl1pPr marL="0" indent="0" algn="l">
              <a:buNone/>
              <a:defRPr sz="2399"/>
            </a:lvl1pPr>
            <a:lvl2pPr marL="457052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5" indent="0" algn="ctr">
              <a:buNone/>
              <a:defRPr sz="1600"/>
            </a:lvl4pPr>
            <a:lvl5pPr marL="1828205" indent="0" algn="ctr">
              <a:buNone/>
              <a:defRPr sz="1600"/>
            </a:lvl5pPr>
            <a:lvl6pPr marL="2285257" indent="0" algn="ctr">
              <a:buNone/>
              <a:defRPr sz="1600"/>
            </a:lvl6pPr>
            <a:lvl7pPr marL="2742308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2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FBCB3DE-043F-6D41-A0D3-82AB2D0DB2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6018657"/>
            <a:ext cx="10972801" cy="582599"/>
          </a:xfrm>
        </p:spPr>
        <p:txBody>
          <a:bodyPr/>
          <a:lstStyle>
            <a:lvl1pPr marL="0" indent="0">
              <a:buFontTx/>
              <a:buNone/>
              <a:defRPr sz="1866"/>
            </a:lvl1pPr>
          </a:lstStyle>
          <a:p>
            <a:pPr lvl="0"/>
            <a:r>
              <a:rPr lang="en-US"/>
              <a:t>Add UR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CF67F7A-632F-2840-8010-6D9525AF9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337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</p:spPr>
        <p:txBody>
          <a:bodyPr lIns="182880" tIns="182880"/>
          <a:lstStyle>
            <a:lvl1pPr>
              <a:defRPr sz="1999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5" y="1789608"/>
            <a:ext cx="10972801" cy="1670287"/>
          </a:xfrm>
        </p:spPr>
        <p:txBody>
          <a:bodyPr anchor="b" anchorCtr="0">
            <a:noAutofit/>
          </a:bodyPr>
          <a:lstStyle>
            <a:lvl1pPr algn="ctr">
              <a:defRPr sz="7998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1" cy="157823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52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5" indent="0" algn="ctr">
              <a:buNone/>
              <a:defRPr sz="1600"/>
            </a:lvl4pPr>
            <a:lvl5pPr marL="1828205" indent="0" algn="ctr">
              <a:buNone/>
              <a:defRPr sz="1600"/>
            </a:lvl5pPr>
            <a:lvl6pPr marL="2285257" indent="0" algn="ctr">
              <a:buNone/>
              <a:defRPr sz="1600"/>
            </a:lvl6pPr>
            <a:lvl7pPr marL="2742308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2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F1A5838-6890-634B-9592-5EA8B1FA4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2370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1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3" y="787104"/>
            <a:ext cx="4948195" cy="2815581"/>
          </a:xfrm>
        </p:spPr>
        <p:txBody>
          <a:bodyPr anchor="b"/>
          <a:lstStyle>
            <a:lvl1pPr>
              <a:defRPr sz="5998" spc="67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919454"/>
            <a:ext cx="4948195" cy="2132613"/>
          </a:xfrm>
        </p:spPr>
        <p:txBody>
          <a:bodyPr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5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3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4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BEB5C16-F6B3-A649-B2E6-F4649608C0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2" y="0"/>
            <a:ext cx="6095999" cy="6858000"/>
          </a:xfrm>
          <a:solidFill>
            <a:schemeClr val="accent3"/>
          </a:solidFill>
        </p:spPr>
        <p:txBody>
          <a:bodyPr lIns="182880" tIns="182880"/>
          <a:lstStyle>
            <a:lvl1pPr>
              <a:defRPr sz="1600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7965CC6-5999-DC48-83C5-3964257F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498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9501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2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3" y="787104"/>
            <a:ext cx="4948195" cy="2815581"/>
          </a:xfrm>
        </p:spPr>
        <p:txBody>
          <a:bodyPr anchor="b"/>
          <a:lstStyle>
            <a:lvl1pPr>
              <a:defRPr sz="5998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919454"/>
            <a:ext cx="4948195" cy="594883"/>
          </a:xfrm>
        </p:spPr>
        <p:txBody>
          <a:bodyPr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5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3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4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A4FD49-F88E-824B-9144-157E3E366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7385" y="534225"/>
            <a:ext cx="1839249" cy="205789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07F1006-2615-C043-AADE-A57A1F0FC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311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21DA4C92-8209-3243-BA9E-F594396D38B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21D703A-DC23-A84F-AEC5-C7FAB44DEB6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8704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6B22210-F34B-F749-A8E3-E5BC2D2CBE1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6448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EEB8919D-D683-1C4D-BF23-EF80A74FAFF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4192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AFE9F9-BAD0-9E46-8B14-B5CD0DE4DD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11936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99E1C3C-18F6-3E49-A00C-A2179DC3C6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98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DDD05EB-89E7-6B4A-B185-8A9605E787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4796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E313450-3CC1-5D4B-8E3F-B698D2AEC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9193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8263CEE4-D6F3-ED4B-9D83-9CD8EDB3DB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03590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8DD29582-441A-CA45-B2F8-2016DAC466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7988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9">
            <a:extLst>
              <a:ext uri="{FF2B5EF4-FFF2-40B4-BE49-F238E27FC236}">
                <a16:creationId xmlns:a16="http://schemas.microsoft.com/office/drawing/2014/main" id="{CD43914D-DC2F-7A4C-83E8-9E081F87B54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960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FBF2EED1-7D7C-584B-9FA2-32C3DDA5EF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8704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20BF0104-77C1-5747-B71A-6EFEF6BD9D0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6448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98BECFC-A587-074C-8DE3-8C8B98FFFA3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74192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AB25FD54-8BBE-EF45-B66A-51CE8DA2659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11936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D916346-7770-8844-B960-857C194796F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0398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8C0D3B4-7CC1-904D-9C90-9F20D909F8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54796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6A53B1CA-574F-BA4F-AC0F-F261B6214A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29193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56C33AD-E34F-BC4E-8659-4137425600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03590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656F4DFA-DA41-5441-89E1-7388152BEC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7988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3EDD698D-D9F0-3446-82F2-FCB0A3B02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15114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676" y="0"/>
            <a:ext cx="11697324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/Bullet Slide Goes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4AAAA1-CE6A-0F43-9A39-A4368588756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1792227"/>
            <a:ext cx="10972801" cy="4741927"/>
          </a:xfrm>
        </p:spPr>
        <p:txBody>
          <a:bodyPr/>
          <a:lstStyle/>
          <a:p>
            <a:pPr lvl="0"/>
            <a:r>
              <a:rPr lang="en-US"/>
              <a:t>Click Icon to add text, table, graph, image video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8EDA28-2651-F547-935A-B2E42565B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6719E4-9D4B-4071-9428-31298A943D8B}"/>
              </a:ext>
            </a:extLst>
          </p:cNvPr>
          <p:cNvSpPr/>
          <p:nvPr userDrawn="1"/>
        </p:nvSpPr>
        <p:spPr>
          <a:xfrm>
            <a:off x="10492117" y="6329680"/>
            <a:ext cx="1623934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178455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7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40A39-5564-4047-962A-B6358BE91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41935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620512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315456" y="1752600"/>
            <a:ext cx="51816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98166" y="1946825"/>
            <a:ext cx="5181600" cy="4206240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E972BBB-82AF-394B-A1F0-EF2CC69BC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92650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6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70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2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7638374" y="412085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730236" y="4217544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6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8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144690-42AD-DF44-8504-C45790FC7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292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6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70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2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6220948" y="4120855"/>
            <a:ext cx="5660760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12809" y="4217544"/>
            <a:ext cx="5660760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6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8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0FC8746-7AF2-B34D-AB35-9533B8533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99945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7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432A7-8DFE-6340-A9F8-7B77CABEA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4661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2845F-BEF3-D340-9C9E-A33992BEA4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16896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9B4CFF-2005-7E46-B79C-A02458973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70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0001B89-E843-714C-8C51-3410BCAE0E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5924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75234D-D998-AC45-AB66-42AEC585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287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BFB5FE9-A73E-4872-A581-96F618F03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01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A430F5B-AC05-6243-901C-CBFA225D1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7464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5601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6405" y="1737327"/>
            <a:ext cx="8767233" cy="4116916"/>
          </a:xfrm>
        </p:spPr>
        <p:txBody>
          <a:bodyPr/>
          <a:lstStyle>
            <a:lvl1pPr marL="380867" indent="-380867">
              <a:buFontTx/>
              <a:buBlip>
                <a:blip r:embed="rId2"/>
              </a:buBlip>
              <a:defRPr>
                <a:latin typeface="+mj-lt"/>
              </a:defRPr>
            </a:lvl1pPr>
            <a:lvl2pPr marL="770196" indent="-338548">
              <a:buFontTx/>
              <a:buBlip>
                <a:blip r:embed="rId2"/>
              </a:buBlip>
              <a:defRPr>
                <a:latin typeface="+mj-lt"/>
              </a:defRPr>
            </a:lvl2pPr>
            <a:lvl3pPr marL="1070659" indent="-338548">
              <a:buFontTx/>
              <a:buBlip>
                <a:blip r:embed="rId2"/>
              </a:buBlip>
              <a:defRPr>
                <a:latin typeface="+mj-lt"/>
              </a:defRPr>
            </a:lvl3pPr>
            <a:lvl4pPr marL="1371121" indent="-338548">
              <a:buFontTx/>
              <a:buBlip>
                <a:blip r:embed="rId2"/>
              </a:buBlip>
              <a:defRPr>
                <a:latin typeface="+mj-lt"/>
              </a:defRPr>
            </a:lvl4pPr>
            <a:lvl5pPr marL="1682162" indent="-338548">
              <a:buFontTx/>
              <a:buBlip>
                <a:blip r:embed="rId2"/>
              </a:buBlip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3FC0D-8995-624A-8686-BCB183723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425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7709" y="270771"/>
            <a:ext cx="9642180" cy="916515"/>
          </a:xfrm>
          <a:prstGeom prst="rect">
            <a:avLst/>
          </a:prstGeom>
        </p:spPr>
        <p:txBody>
          <a:bodyPr/>
          <a:lstStyle>
            <a:lvl1pPr>
              <a:defRPr sz="3732"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F16860-1A83-2F44-BED3-2F0ED651C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719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2BA03-6F50-4146-9E32-70AF71137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E9D899-BDC3-4DDA-B832-EF5D05DA2A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defTabSz="914126">
              <a:defRPr/>
            </a:pPr>
            <a:fld id="{B2A46C45-2A24-4F40-A3AA-230E14976E91}" type="slidenum">
              <a:rPr lang="en-US" smtClean="0">
                <a:solidFill>
                  <a:prstClr val="white"/>
                </a:solidFill>
                <a:latin typeface="Arial"/>
              </a:rPr>
              <a:pPr algn="l" defTabSz="914126"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D68094-16F8-4539-B082-97DC9AFFAB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5489" y="1268526"/>
            <a:ext cx="11030845" cy="3627780"/>
          </a:xfrm>
        </p:spPr>
        <p:txBody>
          <a:bodyPr/>
          <a:lstStyle>
            <a:lvl1pPr marL="152350" indent="0">
              <a:buFontTx/>
              <a:buNone/>
              <a:defRPr/>
            </a:lvl1pPr>
            <a:lvl2pPr marL="685577" indent="0">
              <a:buFontTx/>
              <a:buNone/>
              <a:defRPr/>
            </a:lvl2pPr>
            <a:lvl3pPr marL="1218804" indent="0">
              <a:buFontTx/>
              <a:buNone/>
              <a:defRPr/>
            </a:lvl3pPr>
            <a:lvl4pPr marL="1828205" indent="0">
              <a:buFontTx/>
              <a:buNone/>
              <a:defRPr/>
            </a:lvl4pPr>
            <a:lvl5pPr marL="243760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82279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776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4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3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4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1673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90" y="275170"/>
            <a:ext cx="11050355" cy="28854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91" y="1244456"/>
            <a:ext cx="11050353" cy="1025922"/>
          </a:xfrm>
          <a:prstGeom prst="rect">
            <a:avLst/>
          </a:prstGeom>
        </p:spPr>
        <p:txBody>
          <a:bodyPr/>
          <a:lstStyle>
            <a:lvl1pPr marL="230114" indent="-176156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401508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572902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742708" indent="-16822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914104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1249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4A8FFD5-3EDC-3E49-A7FD-4B0A2678D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37B4C3-9C4F-CC43-B70F-697E43F57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3741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9F1F83C-B53E-024D-8D8E-BB44658E33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F180D-2D65-9046-93DC-9912B48B9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859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0515600" cy="546100"/>
          </a:xfrm>
        </p:spPr>
        <p:txBody>
          <a:bodyPr tIns="0" anchor="t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3" y="1371600"/>
            <a:ext cx="10515600" cy="4351338"/>
          </a:xfrm>
        </p:spPr>
        <p:txBody>
          <a:bodyPr t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D3C37D-65A1-0A44-836B-00B1D82867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040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7F4A8B94-F82D-3444-ADB8-A3AC46DA7B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8043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375F61-A4B1-7147-A175-B8D2BC97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F1F632-7048-C747-ADD6-568FAF9F54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21712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3E56DA-6206-A449-8343-6097CE03F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217421-DB35-214D-9046-B8E4F8B8F2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453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594A519-37F7-9347-9897-35773D8D78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79" y="702805"/>
            <a:ext cx="10515600" cy="546100"/>
          </a:xfrm>
        </p:spPr>
        <p:txBody>
          <a:bodyPr lIns="0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79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163458-A5B1-E046-9C90-F1D4E17CB5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78159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7E30E5-67B3-6B41-880C-68B6A123A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C087F1-A62D-DA4E-91F8-30FE40EFFB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845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404638-6F82-C94C-BBF0-3200222A0A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20940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FF9531-FA9B-2941-8C19-CBB4B98B4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997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A08637-B12F-6D41-90FE-9D3978B462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84F40B-81D1-9941-A3FE-0A6F1B63A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60459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EB7D69-6CCA-A144-8DDC-515690317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24654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5A189EE-D5B2-B541-9D7E-0627537B9C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686532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7A5CCDD-FDE4-0F42-9B8D-ADA410C7E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63A0A1-25E5-5043-A8E2-2755FD3AA4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8610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828800"/>
            <a:ext cx="10972800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64731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E7FD81-E31F-BF4A-9AE4-C8FA50198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54001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81212E1-C4EE-6249-BF4A-A5ECDC92B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446063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FA3AED-599E-7842-BE7B-39DACCEE4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F40D7-6B68-0C41-BE20-E3CF55FF99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80410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3EAFDE-A1F0-5B4B-A15D-CDE51417E6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9005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2ED66F5-8CA3-2346-A9F4-5467ED327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45354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ADA8FB7-1D5D-CA45-9ACA-E054665CD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520088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ABB59E-1993-4644-AB87-32A3319D2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7666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D6AD0A2-59C4-7044-99DC-19A3DC42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14954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22E8DE-53D3-884F-BA2F-074DDC385C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369893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7EAFEC-3B61-BA4B-8600-E3755223D6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9452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8288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8288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698968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164D56A-F566-114F-8257-644E41369B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06124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220E67-BB87-9D41-828E-B6389D005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214" y="6570336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519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2B8BF9-14E9-C740-8B2C-8312B96E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05503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CFB2DF-6CDF-7A49-A107-2348CDFF55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56122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595C11E-9FED-6A44-9AE1-11CCB862A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825F5-B98F-9748-B41D-7DF372CAD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38603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32E7CA1-6808-EA4E-950A-0469469B97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9B81395-8CC8-914A-B301-159F79BFB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88956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B017DCB-021D-F84C-8228-445826DB81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BBE1B0B-8071-5E4E-B487-65827EC20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51158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56E1301-7944-C949-927A-19E3E47DB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562083F-0F81-7B4F-8F90-AB7FA343D3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7812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A1169E4-5385-0043-9AAD-0128AF147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378" y="6605839"/>
            <a:ext cx="1163645" cy="12399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F1A277-AA10-D840-B87B-07F9E67F1D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981224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942D338-1810-6642-BB71-1E002AB38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8320" y="-2"/>
            <a:ext cx="1227032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C3DBAD9-60D5-3D45-9713-3C9A12E901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876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B9E0061-4917-0A42-867E-EBD1A588E5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00720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09600" y="9144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956095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2103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0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081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6214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6658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A59AFBBF-D2E8-479C-B355-CF6D2F4A861E}"/>
              </a:ext>
            </a:extLst>
          </p:cNvPr>
          <p:cNvSpPr txBox="1">
            <a:spLocks/>
          </p:cNvSpPr>
          <p:nvPr userDrawn="1"/>
        </p:nvSpPr>
        <p:spPr>
          <a:xfrm>
            <a:off x="152401" y="6572911"/>
            <a:ext cx="12191999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57238C-9EE0-0D46-BCA0-457B5D30E6C6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AF0EF5-FF36-4C0F-B8C5-DB42C03C3D2F}"/>
              </a:ext>
            </a:extLst>
          </p:cNvPr>
          <p:cNvSpPr/>
          <p:nvPr userDrawn="1"/>
        </p:nvSpPr>
        <p:spPr>
          <a:xfrm>
            <a:off x="10776031" y="6551273"/>
            <a:ext cx="1415970" cy="306729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57119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1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AF48E7-9ECF-41E3-8452-78AD64BBD8F2}"/>
              </a:ext>
            </a:extLst>
          </p:cNvPr>
          <p:cNvSpPr/>
          <p:nvPr userDrawn="1"/>
        </p:nvSpPr>
        <p:spPr>
          <a:xfrm>
            <a:off x="10772385" y="6538588"/>
            <a:ext cx="1302706" cy="21294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313409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57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4"/>
            <a:ext cx="11082528" cy="459485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607728"/>
            <a:ext cx="11082528" cy="249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9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24475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843338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7" y="925354"/>
            <a:ext cx="37520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17DCC2-D1CC-44E6-9CFD-114E4AC6D87E}"/>
              </a:ext>
            </a:extLst>
          </p:cNvPr>
          <p:cNvSpPr/>
          <p:nvPr userDrawn="1"/>
        </p:nvSpPr>
        <p:spPr>
          <a:xfrm>
            <a:off x="10822330" y="6539696"/>
            <a:ext cx="1273215" cy="23149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9966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05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898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5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712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2987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503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319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224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97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405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181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3164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2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8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41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46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195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86822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132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807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8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49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11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00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8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958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80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555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3" imgH="394" progId="TCLayout.ActiveDocument.1">
                  <p:embed/>
                </p:oleObj>
              </mc:Choice>
              <mc:Fallback>
                <p:oleObj name="think-cell Slide" r:id="rId3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0" cy="3341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51600"/>
            <a:ext cx="11188700" cy="757255"/>
          </a:xfrm>
        </p:spPr>
        <p:txBody>
          <a:bodyPr/>
          <a:lstStyle>
            <a:lvl1pPr marL="0" indent="0">
              <a:buNone/>
              <a:defRPr baseline="0"/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3668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DAAC1-8812-4926-A31C-BDA882712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2476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3981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06297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2983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7856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84949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39959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2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0260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ngled Bottom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A09C2E4-3B39-4C31-ACDC-2FC5F2EBB4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748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73486BA3-748E-46CA-9851-CBE29E1E7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3563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3253522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"/>
          <a:lstStyle>
            <a:lvl1pPr>
              <a:defRPr sz="2000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4" y="1789606"/>
            <a:ext cx="10972801" cy="1670287"/>
          </a:xfrm>
        </p:spPr>
        <p:txBody>
          <a:bodyPr anchor="b" anchorCtr="0">
            <a:noAutofit/>
          </a:bodyPr>
          <a:lstStyle>
            <a:lvl1pPr algn="l">
              <a:defRPr sz="6133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0" cy="1578232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FBCB3DE-043F-6D41-A0D3-82AB2D0DB2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6018655"/>
            <a:ext cx="10972800" cy="582599"/>
          </a:xfrm>
        </p:spPr>
        <p:txBody>
          <a:bodyPr/>
          <a:lstStyle>
            <a:lvl1pPr marL="0" indent="0">
              <a:buFontTx/>
              <a:buNone/>
              <a:defRPr sz="1867"/>
            </a:lvl1pPr>
          </a:lstStyle>
          <a:p>
            <a:pPr lvl="0"/>
            <a:r>
              <a:rPr lang="en-US"/>
              <a:t>Add UR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CF67F7A-632F-2840-8010-6D9525AF9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280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"/>
          <a:lstStyle>
            <a:lvl1pPr>
              <a:defRPr sz="2000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4" y="1789606"/>
            <a:ext cx="10972801" cy="1670287"/>
          </a:xfrm>
        </p:spPr>
        <p:txBody>
          <a:bodyPr anchor="b" anchorCtr="0">
            <a:noAutofit/>
          </a:bodyPr>
          <a:lstStyle>
            <a:lvl1pPr algn="ctr">
              <a:defRPr sz="8000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0" cy="15782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F1A5838-6890-634B-9592-5EA8B1FA4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1799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1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2" y="787102"/>
            <a:ext cx="4948195" cy="2815581"/>
          </a:xfrm>
        </p:spPr>
        <p:txBody>
          <a:bodyPr anchor="b"/>
          <a:lstStyle>
            <a:lvl1pPr>
              <a:defRPr sz="6000" spc="67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919452"/>
            <a:ext cx="4948195" cy="2132613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BEB5C16-F6B3-A649-B2E6-F4649608C0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0"/>
            <a:ext cx="6095999" cy="6858000"/>
          </a:xfrm>
          <a:solidFill>
            <a:schemeClr val="accent3"/>
          </a:solidFill>
        </p:spPr>
        <p:txBody>
          <a:bodyPr lIns="182880" tIns="182880"/>
          <a:lstStyle>
            <a:lvl1pPr>
              <a:defRPr sz="1600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7965CC6-5999-DC48-83C5-3964257F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8444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2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2" y="787102"/>
            <a:ext cx="4948195" cy="2815581"/>
          </a:xfrm>
        </p:spPr>
        <p:txBody>
          <a:bodyPr anchor="b"/>
          <a:lstStyle>
            <a:lvl1pPr>
              <a:defRPr sz="6000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919452"/>
            <a:ext cx="4948195" cy="594883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A4FD49-F88E-824B-9144-157E3E366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7385" y="534223"/>
            <a:ext cx="1839249" cy="205789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07F1006-2615-C043-AADE-A57A1F0FC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018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21DA4C92-8209-3243-BA9E-F594396D38B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21D703A-DC23-A84F-AEC5-C7FAB44DEB6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8704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6B22210-F34B-F749-A8E3-E5BC2D2CBE1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6448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EEB8919D-D683-1C4D-BF23-EF80A74FAFF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4192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AFE9F9-BAD0-9E46-8B14-B5CD0DE4DD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11936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99E1C3C-18F6-3E49-A00C-A2179DC3C6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98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DDD05EB-89E7-6B4A-B185-8A9605E787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4795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E313450-3CC1-5D4B-8E3F-B698D2AEC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9193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8263CEE4-D6F3-ED4B-9D83-9CD8EDB3DB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03590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8DD29582-441A-CA45-B2F8-2016DAC466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7987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9">
            <a:extLst>
              <a:ext uri="{FF2B5EF4-FFF2-40B4-BE49-F238E27FC236}">
                <a16:creationId xmlns:a16="http://schemas.microsoft.com/office/drawing/2014/main" id="{CD43914D-DC2F-7A4C-83E8-9E081F87B54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960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FBF2EED1-7D7C-584B-9FA2-32C3DDA5EF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8704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20BF0104-77C1-5747-B71A-6EFEF6BD9D0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6448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98BECFC-A587-074C-8DE3-8C8B98FFFA3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74192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AB25FD54-8BBE-EF45-B66A-51CE8DA2659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11936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D916346-7770-8844-B960-857C194796F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0398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8C0D3B4-7CC1-904D-9C90-9F20D909F8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54795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6A53B1CA-574F-BA4F-AC0F-F261B6214A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29193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56C33AD-E34F-BC4E-8659-4137425600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03590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656F4DFA-DA41-5441-89E1-7388152BEC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7987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3EDD698D-D9F0-3446-82F2-FCB0A3B02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6272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676" y="0"/>
            <a:ext cx="11697324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/Bullet Slide Goes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4AAAA1-CE6A-0F43-9A39-A4368588756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1792225"/>
            <a:ext cx="10972800" cy="4741927"/>
          </a:xfrm>
        </p:spPr>
        <p:txBody>
          <a:bodyPr/>
          <a:lstStyle/>
          <a:p>
            <a:pPr lvl="0"/>
            <a:r>
              <a:rPr lang="en-US"/>
              <a:t>Click Icon to add text, table, graph, image video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8EDA28-2651-F547-935A-B2E42565B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6719E4-9D4B-4071-9428-31298A943D8B}"/>
              </a:ext>
            </a:extLst>
          </p:cNvPr>
          <p:cNvSpPr/>
          <p:nvPr userDrawn="1"/>
        </p:nvSpPr>
        <p:spPr>
          <a:xfrm>
            <a:off x="10492116" y="6329680"/>
            <a:ext cx="1623934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57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0044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5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40A39-5564-4047-962A-B6358BE91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9476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620512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315456" y="1752600"/>
            <a:ext cx="51816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98165" y="1946825"/>
            <a:ext cx="5181600" cy="4206240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E972BBB-82AF-394B-A1F0-EF2CC69BC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704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69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1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7638373" y="412085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730235" y="4217542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5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7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144690-42AD-DF44-8504-C45790FC7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0336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69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1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6220948" y="4120853"/>
            <a:ext cx="5660760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12809" y="4217542"/>
            <a:ext cx="5660760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5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7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0FC8746-7AF2-B34D-AB35-9533B8533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253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5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432A7-8DFE-6340-A9F8-7B77CABEA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9054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2845F-BEF3-D340-9C9E-A33992BEA4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6689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9B4CFF-2005-7E46-B79C-A02458973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071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75234D-D998-AC45-AB66-42AEC585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2867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BFB5FE9-A73E-4872-A581-96F618F03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00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A430F5B-AC05-6243-901C-CBFA225D1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17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5600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6404" y="1737327"/>
            <a:ext cx="8767233" cy="4116916"/>
          </a:xfrm>
        </p:spPr>
        <p:txBody>
          <a:bodyPr/>
          <a:lstStyle>
            <a:lvl1pPr marL="380981" indent="-380981">
              <a:buFontTx/>
              <a:buBlip>
                <a:blip r:embed="rId2"/>
              </a:buBlip>
              <a:defRPr>
                <a:latin typeface="+mj-lt"/>
              </a:defRPr>
            </a:lvl1pPr>
            <a:lvl2pPr marL="770427" indent="-338650">
              <a:buFontTx/>
              <a:buBlip>
                <a:blip r:embed="rId2"/>
              </a:buBlip>
              <a:defRPr>
                <a:latin typeface="+mj-lt"/>
              </a:defRPr>
            </a:lvl2pPr>
            <a:lvl3pPr marL="1070980" indent="-338650">
              <a:buFontTx/>
              <a:buBlip>
                <a:blip r:embed="rId2"/>
              </a:buBlip>
              <a:defRPr>
                <a:latin typeface="+mj-lt"/>
              </a:defRPr>
            </a:lvl3pPr>
            <a:lvl4pPr marL="1371532" indent="-338650">
              <a:buFontTx/>
              <a:buBlip>
                <a:blip r:embed="rId2"/>
              </a:buBlip>
              <a:defRPr>
                <a:latin typeface="+mj-lt"/>
              </a:defRPr>
            </a:lvl4pPr>
            <a:lvl5pPr marL="1682667" indent="-338650">
              <a:buFontTx/>
              <a:buBlip>
                <a:blip r:embed="rId2"/>
              </a:buBlip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3FC0D-8995-624A-8686-BCB183723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416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757A04-493D-D349-A15C-58BC1FCE5A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7725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7709" y="270769"/>
            <a:ext cx="9642180" cy="916515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F16860-1A83-2F44-BED3-2F0ED651C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905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2BA03-6F50-4146-9E32-70AF71137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E9D899-BDC3-4DDA-B832-EF5D05DA2A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A46C45-2A24-4F40-A3AA-230E14976E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D68094-16F8-4539-B082-97DC9AFFAB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5488" y="1268526"/>
            <a:ext cx="11030845" cy="3627780"/>
          </a:xfrm>
        </p:spPr>
        <p:txBody>
          <a:bodyPr/>
          <a:lstStyle>
            <a:lvl1pPr marL="152396" indent="0">
              <a:buFontTx/>
              <a:buNone/>
              <a:defRPr/>
            </a:lvl1pPr>
            <a:lvl2pPr marL="685783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68666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776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2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33393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9" y="275168"/>
            <a:ext cx="11050355" cy="28854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90" y="1244456"/>
            <a:ext cx="11050353" cy="1025922"/>
          </a:xfrm>
          <a:prstGeom prst="rect">
            <a:avLst/>
          </a:prstGeom>
        </p:spPr>
        <p:txBody>
          <a:bodyPr/>
          <a:lstStyle>
            <a:lvl1pPr marL="230183" indent="-17620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401628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573074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742931" indent="-16827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914378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5932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4A8FFD5-3EDC-3E49-A7FD-4B0A2678D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37B4C3-9C4F-CC43-B70F-697E43F57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11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9F1F83C-B53E-024D-8D8E-BB44658E33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F180D-2D65-9046-93DC-9912B48B9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0928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0515600" cy="546100"/>
          </a:xfrm>
        </p:spPr>
        <p:txBody>
          <a:bodyPr tIns="0" anchor="t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3" y="1371600"/>
            <a:ext cx="10515600" cy="4351338"/>
          </a:xfrm>
        </p:spPr>
        <p:txBody>
          <a:bodyPr t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61983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375F61-A4B1-7147-A175-B8D2BC97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F1F632-7048-C747-ADD6-568FAF9F54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2917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3E56DA-6206-A449-8343-6097CE03F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217421-DB35-214D-9046-B8E4F8B8F2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847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594A519-37F7-9347-9897-35773D8D78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79" y="702805"/>
            <a:ext cx="10515600" cy="546100"/>
          </a:xfrm>
        </p:spPr>
        <p:txBody>
          <a:bodyPr lIns="0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79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163458-A5B1-E046-9C90-F1D4E17CB5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76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73EAAA59-037A-144D-9C1E-4BECCFAC2A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076714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7E30E5-67B3-6B41-880C-68B6A123A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C087F1-A62D-DA4E-91F8-30FE40EFFB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2953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404638-6F82-C94C-BBF0-3200222A0A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5605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FF9531-FA9B-2941-8C19-CBB4B98B4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3430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A08637-B12F-6D41-90FE-9D3978B462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84F40B-81D1-9941-A3FE-0A6F1B63A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927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EB7D69-6CCA-A144-8DDC-515690317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1734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5A189EE-D5B2-B541-9D7E-0627537B9C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58822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7A5CCDD-FDE4-0F42-9B8D-ADA410C7E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63A0A1-25E5-5043-A8E2-2755FD3AA4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564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E7FD81-E31F-BF4A-9AE4-C8FA50198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8759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81212E1-C4EE-6249-BF4A-A5ECDC92B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74131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FA3AED-599E-7842-BE7B-39DACCEE4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F40D7-6B68-0C41-BE20-E3CF55FF99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057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59752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3EAFDE-A1F0-5B4B-A15D-CDE51417E6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99130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2ED66F5-8CA3-2346-A9F4-5467ED327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5283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ADA8FB7-1D5D-CA45-9ACA-E054665CD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443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ABB59E-1993-4644-AB87-32A3319D2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9029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D6AD0A2-59C4-7044-99DC-19A3DC42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7300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22E8DE-53D3-884F-BA2F-074DDC385C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01648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7EAFEC-3B61-BA4B-8600-E3755223D6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70080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164D56A-F566-114F-8257-644E41369B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4529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220E67-BB87-9D41-828E-B6389D005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214" y="657033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452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2B8BF9-14E9-C740-8B2C-8312B96E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81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0954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CFB2DF-6CDF-7A49-A107-2348CDFF55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45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595C11E-9FED-6A44-9AE1-11CCB862A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825F5-B98F-9748-B41D-7DF372CAD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164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32E7CA1-6808-EA4E-950A-0469469B97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9B81395-8CC8-914A-B301-159F79BFB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735640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B017DCB-021D-F84C-8228-445826DB81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BBE1B0B-8071-5E4E-B487-65827EC20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92599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56E1301-7944-C949-927A-19E3E47DB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562083F-0F81-7B4F-8F90-AB7FA343D3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7994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A1169E4-5385-0043-9AAD-0128AF147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377" y="6605837"/>
            <a:ext cx="1163645" cy="12399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F1A277-AA10-D840-B87B-07F9E67F1D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4821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942D338-1810-6642-BB71-1E002AB38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8320" y="-2"/>
            <a:ext cx="1227032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C3DBAD9-60D5-3D45-9713-3C9A12E901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0392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2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9693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6658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A59AFBBF-D2E8-479C-B355-CF6D2F4A861E}"/>
              </a:ext>
            </a:extLst>
          </p:cNvPr>
          <p:cNvSpPr txBox="1">
            <a:spLocks/>
          </p:cNvSpPr>
          <p:nvPr userDrawn="1"/>
        </p:nvSpPr>
        <p:spPr>
          <a:xfrm>
            <a:off x="152400" y="65729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AF0EF5-FF36-4C0F-B8C5-DB42C03C3D2F}"/>
              </a:ext>
            </a:extLst>
          </p:cNvPr>
          <p:cNvSpPr/>
          <p:nvPr userDrawn="1"/>
        </p:nvSpPr>
        <p:spPr>
          <a:xfrm>
            <a:off x="10776030" y="6551271"/>
            <a:ext cx="1415970" cy="306729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7528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AF48E7-9ECF-41E3-8452-78AD64BBD8F2}"/>
              </a:ext>
            </a:extLst>
          </p:cNvPr>
          <p:cNvSpPr/>
          <p:nvPr userDrawn="1"/>
        </p:nvSpPr>
        <p:spPr>
          <a:xfrm>
            <a:off x="10772384" y="6538586"/>
            <a:ext cx="1302706" cy="21294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077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4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image" Target="../media/image7.emf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heme" Target="../theme/theme5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image" Target="../media/image8.png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93.xml"/><Relationship Id="rId55" Type="http://schemas.openxmlformats.org/officeDocument/2006/relationships/slideLayout" Target="../slideLayouts/slideLayout98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3" Type="http://schemas.openxmlformats.org/officeDocument/2006/relationships/slideLayout" Target="../slideLayouts/slideLayout96.xml"/><Relationship Id="rId58" Type="http://schemas.openxmlformats.org/officeDocument/2006/relationships/theme" Target="../theme/theme6.xml"/><Relationship Id="rId5" Type="http://schemas.openxmlformats.org/officeDocument/2006/relationships/slideLayout" Target="../slideLayouts/slideLayout48.xml"/><Relationship Id="rId61" Type="http://schemas.openxmlformats.org/officeDocument/2006/relationships/image" Target="../media/image16.emf"/><Relationship Id="rId1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slideLayout" Target="../slideLayouts/slideLayout91.xml"/><Relationship Id="rId56" Type="http://schemas.openxmlformats.org/officeDocument/2006/relationships/slideLayout" Target="../slideLayouts/slideLayout99.xml"/><Relationship Id="rId8" Type="http://schemas.openxmlformats.org/officeDocument/2006/relationships/slideLayout" Target="../slideLayouts/slideLayout51.xml"/><Relationship Id="rId51" Type="http://schemas.openxmlformats.org/officeDocument/2006/relationships/slideLayout" Target="../slideLayouts/slideLayout94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59" Type="http://schemas.openxmlformats.org/officeDocument/2006/relationships/tags" Target="../tags/tag114.xml"/><Relationship Id="rId20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84.xml"/><Relationship Id="rId54" Type="http://schemas.openxmlformats.org/officeDocument/2006/relationships/slideLayout" Target="../slideLayouts/slideLayout97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49" Type="http://schemas.openxmlformats.org/officeDocument/2006/relationships/slideLayout" Target="../slideLayouts/slideLayout92.xml"/><Relationship Id="rId57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52" Type="http://schemas.openxmlformats.org/officeDocument/2006/relationships/slideLayout" Target="../slideLayouts/slideLayout95.xml"/><Relationship Id="rId60" Type="http://schemas.openxmlformats.org/officeDocument/2006/relationships/oleObject" Target="../embeddings/oleObject18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slideLayout" Target="../slideLayouts/slideLayout121.xml"/><Relationship Id="rId34" Type="http://schemas.openxmlformats.org/officeDocument/2006/relationships/tags" Target="../tags/tag135.xml"/><Relationship Id="rId42" Type="http://schemas.openxmlformats.org/officeDocument/2006/relationships/tags" Target="../tags/tag14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9" Type="http://schemas.openxmlformats.org/officeDocument/2006/relationships/tags" Target="../tags/tag13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45" Type="http://schemas.openxmlformats.org/officeDocument/2006/relationships/image" Target="../media/image7.emf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tags" Target="../tags/tag132.xml"/><Relationship Id="rId44" Type="http://schemas.openxmlformats.org/officeDocument/2006/relationships/oleObject" Target="../embeddings/oleObject22.bin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theme" Target="../theme/theme7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tags" Target="../tags/tag144.xml"/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46" Type="http://schemas.openxmlformats.org/officeDocument/2006/relationships/image" Target="../media/image8.png"/><Relationship Id="rId20" Type="http://schemas.openxmlformats.org/officeDocument/2006/relationships/slideLayout" Target="../slideLayouts/slideLayout120.xml"/><Relationship Id="rId41" Type="http://schemas.openxmlformats.org/officeDocument/2006/relationships/tags" Target="../tags/tag14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theme" Target="../theme/theme8.xml"/><Relationship Id="rId39" Type="http://schemas.openxmlformats.org/officeDocument/2006/relationships/tags" Target="../tags/tag246.xml"/><Relationship Id="rId21" Type="http://schemas.openxmlformats.org/officeDocument/2006/relationships/slideLayout" Target="../slideLayouts/slideLayout142.xml"/><Relationship Id="rId34" Type="http://schemas.openxmlformats.org/officeDocument/2006/relationships/tags" Target="../tags/tag241.xml"/><Relationship Id="rId42" Type="http://schemas.openxmlformats.org/officeDocument/2006/relationships/tags" Target="../tags/tag249.xml"/><Relationship Id="rId47" Type="http://schemas.openxmlformats.org/officeDocument/2006/relationships/tags" Target="../tags/tag254.xml"/><Relationship Id="rId50" Type="http://schemas.openxmlformats.org/officeDocument/2006/relationships/image" Target="../media/image8.png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9" Type="http://schemas.openxmlformats.org/officeDocument/2006/relationships/tags" Target="../tags/tag236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tags" Target="../tags/tag239.xml"/><Relationship Id="rId37" Type="http://schemas.openxmlformats.org/officeDocument/2006/relationships/tags" Target="../tags/tag244.xml"/><Relationship Id="rId40" Type="http://schemas.openxmlformats.org/officeDocument/2006/relationships/tags" Target="../tags/tag247.xml"/><Relationship Id="rId45" Type="http://schemas.openxmlformats.org/officeDocument/2006/relationships/tags" Target="../tags/tag25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tags" Target="../tags/tag235.xml"/><Relationship Id="rId36" Type="http://schemas.openxmlformats.org/officeDocument/2006/relationships/tags" Target="../tags/tag243.xml"/><Relationship Id="rId49" Type="http://schemas.openxmlformats.org/officeDocument/2006/relationships/image" Target="../media/image7.emf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tags" Target="../tags/tag238.xml"/><Relationship Id="rId44" Type="http://schemas.openxmlformats.org/officeDocument/2006/relationships/tags" Target="../tags/tag25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tags" Target="../tags/tag234.xml"/><Relationship Id="rId30" Type="http://schemas.openxmlformats.org/officeDocument/2006/relationships/tags" Target="../tags/tag237.xml"/><Relationship Id="rId35" Type="http://schemas.openxmlformats.org/officeDocument/2006/relationships/tags" Target="../tags/tag242.xml"/><Relationship Id="rId43" Type="http://schemas.openxmlformats.org/officeDocument/2006/relationships/tags" Target="../tags/tag250.xml"/><Relationship Id="rId48" Type="http://schemas.openxmlformats.org/officeDocument/2006/relationships/oleObject" Target="../embeddings/oleObject37.bin"/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tags" Target="../tags/tag240.xml"/><Relationship Id="rId38" Type="http://schemas.openxmlformats.org/officeDocument/2006/relationships/tags" Target="../tags/tag245.xml"/><Relationship Id="rId46" Type="http://schemas.openxmlformats.org/officeDocument/2006/relationships/tags" Target="../tags/tag253.xml"/><Relationship Id="rId20" Type="http://schemas.openxmlformats.org/officeDocument/2006/relationships/slideLayout" Target="../slideLayouts/slideLayout141.xml"/><Relationship Id="rId41" Type="http://schemas.openxmlformats.org/officeDocument/2006/relationships/tags" Target="../tags/tag248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180.xml"/><Relationship Id="rId42" Type="http://schemas.openxmlformats.org/officeDocument/2006/relationships/slideLayout" Target="../slideLayouts/slideLayout188.xml"/><Relationship Id="rId47" Type="http://schemas.openxmlformats.org/officeDocument/2006/relationships/slideLayout" Target="../slideLayouts/slideLayout193.xml"/><Relationship Id="rId50" Type="http://schemas.openxmlformats.org/officeDocument/2006/relationships/slideLayout" Target="../slideLayouts/slideLayout196.xml"/><Relationship Id="rId55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slideLayout" Target="../slideLayouts/slideLayout186.xml"/><Relationship Id="rId45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199.xml"/><Relationship Id="rId58" Type="http://schemas.openxmlformats.org/officeDocument/2006/relationships/theme" Target="../theme/theme9.xml"/><Relationship Id="rId5" Type="http://schemas.openxmlformats.org/officeDocument/2006/relationships/slideLayout" Target="../slideLayouts/slideLayout151.xml"/><Relationship Id="rId61" Type="http://schemas.openxmlformats.org/officeDocument/2006/relationships/image" Target="../media/image16.emf"/><Relationship Id="rId1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43" Type="http://schemas.openxmlformats.org/officeDocument/2006/relationships/slideLayout" Target="../slideLayouts/slideLayout189.xml"/><Relationship Id="rId48" Type="http://schemas.openxmlformats.org/officeDocument/2006/relationships/slideLayout" Target="../slideLayouts/slideLayout194.xml"/><Relationship Id="rId56" Type="http://schemas.openxmlformats.org/officeDocument/2006/relationships/slideLayout" Target="../slideLayouts/slideLayout202.xml"/><Relationship Id="rId8" Type="http://schemas.openxmlformats.org/officeDocument/2006/relationships/slideLayout" Target="../slideLayouts/slideLayout154.xml"/><Relationship Id="rId51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46" Type="http://schemas.openxmlformats.org/officeDocument/2006/relationships/slideLayout" Target="../slideLayouts/slideLayout192.xml"/><Relationship Id="rId59" Type="http://schemas.openxmlformats.org/officeDocument/2006/relationships/tags" Target="../tags/tag345.xml"/><Relationship Id="rId20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49" Type="http://schemas.openxmlformats.org/officeDocument/2006/relationships/slideLayout" Target="../slideLayouts/slideLayout195.xml"/><Relationship Id="rId57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90.xml"/><Relationship Id="rId52" Type="http://schemas.openxmlformats.org/officeDocument/2006/relationships/slideLayout" Target="../slideLayouts/slideLayout198.xml"/><Relationship Id="rId60" Type="http://schemas.openxmlformats.org/officeDocument/2006/relationships/oleObject" Target="../embeddings/oleObject18.bin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E4343FBB-3CD2-3346-8829-CA752D1414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341120" y="6356351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83BEF020-3983-44C0-95F1-CA4EABC767DB}" type="datetimeFigureOut">
              <a:rPr lang="en-US" smtClean="0"/>
              <a:t>6/4/2022</a:t>
            </a:fld>
            <a:endParaRPr lang="en-US" dirty="0"/>
          </a:p>
        </p:txBody>
      </p:sp>
      <p:sp>
        <p:nvSpPr>
          <p:cNvPr id="10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09600" y="6356351"/>
            <a:ext cx="60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1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8DFA9008-DEDB-7544-939B-6385A80DB8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95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D0D9B91-9B32-5241-91D9-B2DDE8C3FB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3C573D0-57A2-4982-AB64-4CA46CDAD608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10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539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FA976221-B0DA-7444-9E40-3B11AB1830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9144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28800"/>
            <a:ext cx="109728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76202FA8-3DDA-4CB9-8C3E-784AF2913C6C}" type="datetimeFigureOut">
              <a:rPr lang="en-US" smtClean="0"/>
              <a:pPr/>
              <a:t>6/4/2022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484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8097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30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38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000">
              <a:schemeClr val="tx2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CC43B6E-BD1F-4F96-AE7D-F52F1632A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9440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99" imgH="499" progId="TCLayout.ActiveDocument.1">
                  <p:embed/>
                </p:oleObj>
              </mc:Choice>
              <mc:Fallback>
                <p:oleObj name="think-cell Slide" r:id="rId60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CC43B6E-BD1F-4F96-AE7D-F52F1632A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94F025-1CD4-2D4B-A579-A57386DECC67}"/>
              </a:ext>
            </a:extLst>
          </p:cNvPr>
          <p:cNvSpPr/>
          <p:nvPr userDrawn="1"/>
        </p:nvSpPr>
        <p:spPr>
          <a:xfrm>
            <a:off x="0" y="1295401"/>
            <a:ext cx="12192000" cy="5562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431" y="2032820"/>
            <a:ext cx="11253871" cy="4143128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Return Tab for - Second level</a:t>
            </a:r>
          </a:p>
          <a:p>
            <a:pPr lvl="2"/>
            <a:r>
              <a:rPr lang="en-US"/>
              <a:t>RTN tab for - Third level</a:t>
            </a:r>
          </a:p>
          <a:p>
            <a:pPr lvl="3"/>
            <a:r>
              <a:rPr lang="en-US"/>
              <a:t>RTN tab for - Fourth level (Shift RTN to go back one level for all)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FFF8C-9A02-084D-865F-8725EB8BE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643F9D-0215-0346-81FF-82D23C638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601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7" r:id="rId18"/>
    <p:sldLayoutId id="2147483859" r:id="rId19"/>
    <p:sldLayoutId id="2147483862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6" r:id="rId33"/>
    <p:sldLayoutId id="2147483877" r:id="rId34"/>
    <p:sldLayoutId id="2147483878" r:id="rId35"/>
    <p:sldLayoutId id="2147483879" r:id="rId36"/>
    <p:sldLayoutId id="2147483880" r:id="rId37"/>
    <p:sldLayoutId id="2147483881" r:id="rId38"/>
    <p:sldLayoutId id="2147483882" r:id="rId39"/>
    <p:sldLayoutId id="2147483883" r:id="rId40"/>
    <p:sldLayoutId id="2147483884" r:id="rId41"/>
    <p:sldLayoutId id="2147483885" r:id="rId42"/>
    <p:sldLayoutId id="2147483886" r:id="rId43"/>
    <p:sldLayoutId id="2147483887" r:id="rId44"/>
    <p:sldLayoutId id="2147483888" r:id="rId45"/>
    <p:sldLayoutId id="2147483889" r:id="rId46"/>
    <p:sldLayoutId id="2147483890" r:id="rId47"/>
    <p:sldLayoutId id="2147483891" r:id="rId48"/>
    <p:sldLayoutId id="2147483892" r:id="rId49"/>
    <p:sldLayoutId id="2147483893" r:id="rId50"/>
    <p:sldLayoutId id="2147483894" r:id="rId51"/>
    <p:sldLayoutId id="2147483895" r:id="rId52"/>
    <p:sldLayoutId id="2147483896" r:id="rId53"/>
    <p:sldLayoutId id="2147483897" r:id="rId54"/>
    <p:sldLayoutId id="2147483898" r:id="rId55"/>
    <p:sldLayoutId id="2147483907" r:id="rId56"/>
    <p:sldLayoutId id="2147483931" r:id="rId57"/>
  </p:sldLayoutIdLst>
  <p:hf hdr="0" dt="0"/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3733" kern="1200" spc="67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21917" indent="-121917" algn="l" defTabSz="914377" rtl="0" eaLnBrk="1" latinLnBrk="0" hangingPunct="1">
        <a:lnSpc>
          <a:spcPct val="90000"/>
        </a:lnSpc>
        <a:spcBef>
          <a:spcPts val="0"/>
        </a:spcBef>
        <a:spcAft>
          <a:spcPts val="1867"/>
        </a:spcAft>
        <a:buFont typeface="System Font Regular"/>
        <a:buChar char=" "/>
        <a:defRPr sz="2667" kern="1200">
          <a:solidFill>
            <a:schemeClr val="tx1"/>
          </a:solidFill>
          <a:latin typeface="+mj-lt"/>
          <a:ea typeface="+mn-ea"/>
          <a:cs typeface="+mn-cs"/>
        </a:defRPr>
      </a:lvl1pPr>
      <a:lvl2pPr marL="121917" indent="-121917" algn="l" defTabSz="914377" rtl="0" eaLnBrk="1" latinLnBrk="0" hangingPunct="1">
        <a:lnSpc>
          <a:spcPct val="110000"/>
        </a:lnSpc>
        <a:spcBef>
          <a:spcPts val="0"/>
        </a:spcBef>
        <a:spcAft>
          <a:spcPts val="1600"/>
        </a:spcAft>
        <a:buFont typeface="System Font Regular"/>
        <a:buChar char=" 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51" indent="-243834" algn="l" defTabSz="914377" rtl="0" eaLnBrk="1" latinLnBrk="0" hangingPunct="1">
        <a:lnSpc>
          <a:spcPct val="12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17" indent="-121917" algn="l" defTabSz="914377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 "/>
        <a:defRPr sz="1867" b="0" i="0" kern="1200">
          <a:solidFill>
            <a:schemeClr val="tx2"/>
          </a:solidFill>
          <a:latin typeface="Franklin Gothic Medium" panose="020B0603020102020204" pitchFamily="34" charset="0"/>
          <a:ea typeface="+mn-ea"/>
          <a:cs typeface="+mn-cs"/>
        </a:defRPr>
      </a:lvl4pPr>
      <a:lvl5pPr marL="121917" indent="-121917" algn="l" defTabSz="914377" rtl="0" eaLnBrk="1" latinLnBrk="0" hangingPunct="1">
        <a:lnSpc>
          <a:spcPct val="90000"/>
        </a:lnSpc>
        <a:spcBef>
          <a:spcPts val="0"/>
        </a:spcBef>
        <a:buFont typeface="System Font Regular"/>
        <a:buChar char=" "/>
        <a:defRPr sz="1867" b="0" i="0" kern="1200">
          <a:solidFill>
            <a:schemeClr val="bg2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1">
          <p15:clr>
            <a:srgbClr val="F26B43"/>
          </p15:clr>
        </p15:guide>
        <p15:guide id="4" pos="288">
          <p15:clr>
            <a:srgbClr val="F26B43"/>
          </p15:clr>
        </p15:guide>
        <p15:guide id="5" pos="5472">
          <p15:clr>
            <a:srgbClr val="F26B43"/>
          </p15:clr>
        </p15:guide>
        <p15:guide id="6" orient="horz" pos="1020">
          <p15:clr>
            <a:srgbClr val="F26B43"/>
          </p15:clr>
        </p15:guide>
        <p15:guide id="7" orient="horz" pos="82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6437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28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26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5" r:id="rId16"/>
    <p:sldLayoutId id="2147483926" r:id="rId17"/>
    <p:sldLayoutId id="2147483927" r:id="rId18"/>
    <p:sldLayoutId id="2147483928" r:id="rId19"/>
    <p:sldLayoutId id="2147483929" r:id="rId20"/>
    <p:sldLayoutId id="2147483930" r:id="rId2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645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13" imgH="416" progId="TCLayout.ActiveDocument.1">
                  <p:embed/>
                </p:oleObj>
              </mc:Choice>
              <mc:Fallback>
                <p:oleObj name="think-cell Slide" r:id="rId4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32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819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7" r:id="rId23"/>
    <p:sldLayoutId id="2147483958" r:id="rId24"/>
    <p:sldLayoutId id="2147483959" r:id="rId25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000">
              <a:schemeClr val="tx2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CC43B6E-BD1F-4F96-AE7D-F52F1632A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9440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99" imgH="499" progId="TCLayout.ActiveDocument.1">
                  <p:embed/>
                </p:oleObj>
              </mc:Choice>
              <mc:Fallback>
                <p:oleObj name="think-cell Slide" r:id="rId60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CC43B6E-BD1F-4F96-AE7D-F52F1632A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94F025-1CD4-2D4B-A579-A57386DECC67}"/>
              </a:ext>
            </a:extLst>
          </p:cNvPr>
          <p:cNvSpPr/>
          <p:nvPr userDrawn="1"/>
        </p:nvSpPr>
        <p:spPr>
          <a:xfrm>
            <a:off x="1" y="1295403"/>
            <a:ext cx="12192000" cy="5562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431" y="2032820"/>
            <a:ext cx="11253871" cy="4143128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Return Tab for - Second level</a:t>
            </a:r>
          </a:p>
          <a:p>
            <a:pPr lvl="2"/>
            <a:r>
              <a:rPr lang="en-US"/>
              <a:t>RTN tab for - Third level</a:t>
            </a:r>
          </a:p>
          <a:p>
            <a:pPr lvl="3"/>
            <a:r>
              <a:rPr lang="en-US"/>
              <a:t>RTN tab for - Fourth level (Shift RTN to go back one level for all)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FFF8C-9A02-084D-865F-8725EB8BE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643F9D-0215-0346-81FF-82D23C638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766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  <p:sldLayoutId id="2147483973" r:id="rId13"/>
    <p:sldLayoutId id="2147483974" r:id="rId14"/>
    <p:sldLayoutId id="2147483975" r:id="rId15"/>
    <p:sldLayoutId id="2147483976" r:id="rId16"/>
    <p:sldLayoutId id="2147483977" r:id="rId17"/>
    <p:sldLayoutId id="2147483978" r:id="rId18"/>
    <p:sldLayoutId id="2147483979" r:id="rId19"/>
    <p:sldLayoutId id="2147483980" r:id="rId20"/>
    <p:sldLayoutId id="2147483981" r:id="rId21"/>
    <p:sldLayoutId id="2147483982" r:id="rId22"/>
    <p:sldLayoutId id="2147483983" r:id="rId23"/>
    <p:sldLayoutId id="2147483984" r:id="rId24"/>
    <p:sldLayoutId id="2147483985" r:id="rId25"/>
    <p:sldLayoutId id="2147483986" r:id="rId26"/>
    <p:sldLayoutId id="2147483987" r:id="rId27"/>
    <p:sldLayoutId id="2147483988" r:id="rId28"/>
    <p:sldLayoutId id="2147483989" r:id="rId29"/>
    <p:sldLayoutId id="2147483990" r:id="rId30"/>
    <p:sldLayoutId id="2147483991" r:id="rId31"/>
    <p:sldLayoutId id="2147483992" r:id="rId32"/>
    <p:sldLayoutId id="2147483993" r:id="rId33"/>
    <p:sldLayoutId id="2147483994" r:id="rId34"/>
    <p:sldLayoutId id="2147483995" r:id="rId35"/>
    <p:sldLayoutId id="2147483996" r:id="rId36"/>
    <p:sldLayoutId id="2147483997" r:id="rId37"/>
    <p:sldLayoutId id="2147483998" r:id="rId38"/>
    <p:sldLayoutId id="2147483999" r:id="rId39"/>
    <p:sldLayoutId id="2147484000" r:id="rId40"/>
    <p:sldLayoutId id="2147484001" r:id="rId41"/>
    <p:sldLayoutId id="2147484002" r:id="rId42"/>
    <p:sldLayoutId id="2147484003" r:id="rId43"/>
    <p:sldLayoutId id="2147484004" r:id="rId44"/>
    <p:sldLayoutId id="2147484005" r:id="rId45"/>
    <p:sldLayoutId id="2147484006" r:id="rId46"/>
    <p:sldLayoutId id="2147484007" r:id="rId47"/>
    <p:sldLayoutId id="2147484008" r:id="rId48"/>
    <p:sldLayoutId id="2147484009" r:id="rId49"/>
    <p:sldLayoutId id="2147484010" r:id="rId50"/>
    <p:sldLayoutId id="2147484011" r:id="rId51"/>
    <p:sldLayoutId id="2147484012" r:id="rId52"/>
    <p:sldLayoutId id="2147484013" r:id="rId53"/>
    <p:sldLayoutId id="2147484014" r:id="rId54"/>
    <p:sldLayoutId id="2147484015" r:id="rId55"/>
    <p:sldLayoutId id="2147484016" r:id="rId56"/>
    <p:sldLayoutId id="2147484017" r:id="rId57"/>
  </p:sldLayoutIdLst>
  <p:hf hdr="0" dt="0"/>
  <p:txStyles>
    <p:titleStyle>
      <a:lvl1pPr algn="l" defTabSz="914103" rtl="0" eaLnBrk="1" latinLnBrk="0" hangingPunct="1">
        <a:lnSpc>
          <a:spcPct val="80000"/>
        </a:lnSpc>
        <a:spcBef>
          <a:spcPct val="0"/>
        </a:spcBef>
        <a:buNone/>
        <a:defRPr sz="3732" kern="1200" spc="67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21880" indent="-121880" algn="l" defTabSz="914103" rtl="0" eaLnBrk="1" latinLnBrk="0" hangingPunct="1">
        <a:lnSpc>
          <a:spcPct val="90000"/>
        </a:lnSpc>
        <a:spcBef>
          <a:spcPts val="0"/>
        </a:spcBef>
        <a:spcAft>
          <a:spcPts val="1866"/>
        </a:spcAft>
        <a:buFont typeface="System Font Regular"/>
        <a:buChar char=" "/>
        <a:defRPr sz="2666" kern="1200">
          <a:solidFill>
            <a:schemeClr val="tx1"/>
          </a:solidFill>
          <a:latin typeface="+mj-lt"/>
          <a:ea typeface="+mn-ea"/>
          <a:cs typeface="+mn-cs"/>
        </a:defRPr>
      </a:lvl1pPr>
      <a:lvl2pPr marL="121880" indent="-121880" algn="l" defTabSz="914103" rtl="0" eaLnBrk="1" latinLnBrk="0" hangingPunct="1">
        <a:lnSpc>
          <a:spcPct val="110000"/>
        </a:lnSpc>
        <a:spcBef>
          <a:spcPts val="0"/>
        </a:spcBef>
        <a:spcAft>
          <a:spcPts val="1600"/>
        </a:spcAft>
        <a:buFont typeface="System Font Regular"/>
        <a:buChar char=" "/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365641" indent="-243761" algn="l" defTabSz="914103" rtl="0" eaLnBrk="1" latinLnBrk="0" hangingPunct="1">
        <a:lnSpc>
          <a:spcPct val="12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21880" indent="-121880" algn="l" defTabSz="914103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 "/>
        <a:defRPr sz="1866" b="0" i="0" kern="1200">
          <a:solidFill>
            <a:schemeClr val="tx2"/>
          </a:solidFill>
          <a:latin typeface="Franklin Gothic Medium" panose="020B0603020102020204" pitchFamily="34" charset="0"/>
          <a:ea typeface="+mn-ea"/>
          <a:cs typeface="+mn-cs"/>
        </a:defRPr>
      </a:lvl4pPr>
      <a:lvl5pPr marL="121880" indent="-121880" algn="l" defTabSz="914103" rtl="0" eaLnBrk="1" latinLnBrk="0" hangingPunct="1">
        <a:lnSpc>
          <a:spcPct val="90000"/>
        </a:lnSpc>
        <a:spcBef>
          <a:spcPts val="0"/>
        </a:spcBef>
        <a:buFont typeface="System Font Regular"/>
        <a:buChar char=" "/>
        <a:defRPr sz="1866" b="0" i="0" kern="1200">
          <a:solidFill>
            <a:schemeClr val="bg2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3783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5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1">
          <p15:clr>
            <a:srgbClr val="F26B43"/>
          </p15:clr>
        </p15:guide>
        <p15:guide id="4" pos="288">
          <p15:clr>
            <a:srgbClr val="F26B43"/>
          </p15:clr>
        </p15:guide>
        <p15:guide id="5" pos="5472">
          <p15:clr>
            <a:srgbClr val="F26B43"/>
          </p15:clr>
        </p15:guide>
        <p15:guide id="6" orient="horz" pos="1020">
          <p15:clr>
            <a:srgbClr val="F26B43"/>
          </p15:clr>
        </p15:guide>
        <p15:guide id="7" orient="horz" pos="8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9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9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7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9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9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9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9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9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0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729" y="5007365"/>
            <a:ext cx="10710543" cy="788428"/>
          </a:xfrm>
        </p:spPr>
        <p:txBody>
          <a:bodyPr/>
          <a:lstStyle/>
          <a:p>
            <a:r>
              <a:rPr lang="en-US" sz="3999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88" y="18823"/>
            <a:ext cx="12188825" cy="685621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689" y="3194099"/>
            <a:ext cx="10710543" cy="2098992"/>
          </a:xfrm>
        </p:spPr>
        <p:txBody>
          <a:bodyPr/>
          <a:lstStyle/>
          <a:p>
            <a:r>
              <a:rPr lang="en-US" altLang="en-US" sz="43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 Strategy </a:t>
            </a:r>
            <a:r>
              <a:rPr lang="en-US" altLang="en-US" sz="43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Operations </a:t>
            </a:r>
            <a:endParaRPr lang="en-US" sz="43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2CDD35-9553-42FC-9885-36BC295BADF7}"/>
              </a:ext>
            </a:extLst>
          </p:cNvPr>
          <p:cNvSpPr txBox="1"/>
          <p:nvPr/>
        </p:nvSpPr>
        <p:spPr>
          <a:xfrm>
            <a:off x="-424029" y="5332982"/>
            <a:ext cx="10912078" cy="6596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18931" lvl="2" defTabSz="609465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FFFFFF"/>
                </a:solidFill>
                <a:latin typeface="Franklin Gothic Book" panose="020B0503020102020204"/>
                <a:ea typeface="MS PGothic" pitchFamily="34" charset="-128"/>
                <a:cs typeface="Arial Black" panose="020B0604020202020204" pitchFamily="34" charset="0"/>
              </a:rPr>
              <a:t>Dick Antoine, Marcia Avedon, John </a:t>
            </a:r>
            <a:r>
              <a:rPr lang="en-US" sz="2800" b="1" err="1">
                <a:solidFill>
                  <a:srgbClr val="FFFFFF"/>
                </a:solidFill>
                <a:latin typeface="Franklin Gothic Book" panose="020B0503020102020204"/>
                <a:ea typeface="MS PGothic" pitchFamily="34" charset="-128"/>
                <a:cs typeface="Arial Black" panose="020B0604020202020204" pitchFamily="34" charset="0"/>
              </a:rPr>
              <a:t>Murabito</a:t>
            </a:r>
            <a:r>
              <a:rPr lang="en-US" sz="2800" b="1">
                <a:solidFill>
                  <a:srgbClr val="FFFFFF"/>
                </a:solidFill>
                <a:latin typeface="Franklin Gothic Book" panose="020B0503020102020204"/>
                <a:ea typeface="MS PGothic" pitchFamily="34" charset="-128"/>
                <a:cs typeface="Arial Black" panose="020B0604020202020204" pitchFamily="34" charset="0"/>
              </a:rPr>
              <a:t>, Perry </a:t>
            </a:r>
            <a:r>
              <a:rPr lang="en-US" sz="2800" b="1" dirty="0">
                <a:solidFill>
                  <a:srgbClr val="FFFFFF"/>
                </a:solidFill>
                <a:latin typeface="Franklin Gothic Book" panose="020B0503020102020204"/>
                <a:ea typeface="MS PGothic" pitchFamily="34" charset="-128"/>
                <a:cs typeface="Arial Black" panose="020B0604020202020204" pitchFamily="34" charset="0"/>
              </a:rPr>
              <a:t>Stuckey</a:t>
            </a:r>
          </a:p>
        </p:txBody>
      </p:sp>
    </p:spTree>
    <p:extLst>
      <p:ext uri="{BB962C8B-B14F-4D97-AF65-F5344CB8AC3E}">
        <p14:creationId xmlns:p14="http://schemas.microsoft.com/office/powerpoint/2010/main" val="1600055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225" y="5007776"/>
            <a:ext cx="10713333" cy="788633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4336" y="4316774"/>
            <a:ext cx="9703245" cy="1084676"/>
          </a:xfrm>
        </p:spPr>
        <p:txBody>
          <a:bodyPr/>
          <a:lstStyle/>
          <a:p>
            <a:r>
              <a:rPr lang="en-US" alt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rics, Scorecard &amp; Analytics</a:t>
            </a:r>
            <a:endParaRPr lang="en-US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77875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861F0-6851-4B1E-97BF-A276082DA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1277599" cy="1295400"/>
          </a:xfrm>
        </p:spPr>
        <p:txBody>
          <a:bodyPr>
            <a:normAutofit/>
          </a:bodyPr>
          <a:lstStyle/>
          <a:p>
            <a:r>
              <a:rPr lang="en-US" b="1" dirty="0"/>
              <a:t>Measurement is key to your strategy and oper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C2F284-1635-4CBC-A7AB-724DDF586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1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468216C0-8572-4088-BDE1-688E576B1C1C}"/>
              </a:ext>
            </a:extLst>
          </p:cNvPr>
          <p:cNvSpPr txBox="1">
            <a:spLocks/>
          </p:cNvSpPr>
          <p:nvPr/>
        </p:nvSpPr>
        <p:spPr>
          <a:xfrm>
            <a:off x="5912224" y="1652530"/>
            <a:ext cx="6075239" cy="4426822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 HR requires data and analytic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s strong decision making and the right solution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e learnings for the best insight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 your investment needs based on data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ify requested investments 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 your metrics to your particular business and strategy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card what you choose to measure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you choose to measure should tell you if you are achieving your strategy’s goal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1F898A-7413-4B94-BC1B-ACA95FDFD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483" y="2231614"/>
            <a:ext cx="5432007" cy="349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98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1202443" cy="1295400"/>
          </a:xfrm>
        </p:spPr>
        <p:txBody>
          <a:bodyPr/>
          <a:lstStyle/>
          <a:p>
            <a:r>
              <a:rPr lang="en-US" b="1" dirty="0"/>
              <a:t>At Cigna we dove deep into five basic are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A2283A4F-4B14-4CA1-9900-271F89399EDC}"/>
              </a:ext>
            </a:extLst>
          </p:cNvPr>
          <p:cNvSpPr txBox="1">
            <a:spLocks/>
          </p:cNvSpPr>
          <p:nvPr/>
        </p:nvSpPr>
        <p:spPr>
          <a:xfrm>
            <a:off x="1196483" y="2190547"/>
            <a:ext cx="7514381" cy="4426822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Perspective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nover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ty 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on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 Management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t various intervals depending on the metric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generally from Workday and Employee Surveys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gainst annually-set goals for all metrics</a:t>
            </a: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>
              <a:spcBef>
                <a:spcPts val="600"/>
              </a:spcBef>
              <a:spcAft>
                <a:spcPts val="600"/>
              </a:spcAft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6" descr="Happy international creative diverse business team in formal wear, taking  selfie and showing thumbs Stock Photo by sofiiashunkina">
            <a:extLst>
              <a:ext uri="{FF2B5EF4-FFF2-40B4-BE49-F238E27FC236}">
                <a16:creationId xmlns:a16="http://schemas.microsoft.com/office/drawing/2014/main" id="{E01A466F-58EF-464F-8AC6-7AA4A06B82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" t="6820" r="526" b="13312"/>
          <a:stretch/>
        </p:blipFill>
        <p:spPr bwMode="auto">
          <a:xfrm>
            <a:off x="6148137" y="1840830"/>
            <a:ext cx="4824664" cy="260112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05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87E30EE6-97EE-4EB7-AEBA-1810CB1A3DA3}"/>
              </a:ext>
            </a:extLst>
          </p:cNvPr>
          <p:cNvSpPr txBox="1">
            <a:spLocks/>
          </p:cNvSpPr>
          <p:nvPr/>
        </p:nvSpPr>
        <p:spPr>
          <a:xfrm>
            <a:off x="5201174" y="1653171"/>
            <a:ext cx="6910951" cy="4816966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ployee Net Promoter Score  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e - do you recommend your company to family and friends?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Commitment Index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posite of survey questions on Motivation, Leadership, Strategy, Belonging, Community and Career Mobility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Feeling Valued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hange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my company willing to make change to compete?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 the company manage change well?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73094F-F19A-46B1-8283-CDF25CA1DA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75" y="2107060"/>
            <a:ext cx="4889416" cy="329822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2843308-0438-4BB6-B7EC-96B5898C1531}"/>
              </a:ext>
            </a:extLst>
          </p:cNvPr>
          <p:cNvSpPr txBox="1">
            <a:spLocks/>
          </p:cNvSpPr>
          <p:nvPr/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 fontScale="90000" lnSpcReduction="10000"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733" kern="1200" spc="67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400" b="1" dirty="0"/>
              <a:t>Employee Perspective</a:t>
            </a:r>
            <a:b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21F1DD-C063-462A-91D7-106D2A9D5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03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100" b="1" dirty="0"/>
              <a:t>Turnover</a:t>
            </a:r>
            <a:b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09A577A-BC3A-406B-8D22-E9A785768836}"/>
              </a:ext>
            </a:extLst>
          </p:cNvPr>
          <p:cNvSpPr txBox="1">
            <a:spLocks/>
          </p:cNvSpPr>
          <p:nvPr/>
        </p:nvSpPr>
        <p:spPr>
          <a:xfrm>
            <a:off x="1" y="1562006"/>
            <a:ext cx="6954472" cy="4443430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89" lvl="6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Basics of course …..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, US, non-US, by level, exempt/non-exempt, women, all the ethnic  minorities; and then combinations of these.</a:t>
            </a:r>
            <a:b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d then a number of “special” looks ……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with potential, employees with less than one year of service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empt employees who changed role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p quartile bonus recipient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tive leadership program participant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raduates of leadership programs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ations of these turnover metrics allow for powerful and insightful analytics</a:t>
            </a:r>
          </a:p>
          <a:p>
            <a:pPr marL="121285" indent="-121285"/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E86573-AE7A-4DED-A515-1E1BFD0F2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552" y="2140706"/>
            <a:ext cx="4932091" cy="3286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3174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8" name="Picture 6" descr="Indian Business Woman Looking at Camera while Holding a Tablet Stock Image  - Image of beautiful, necktie: 100608537">
            <a:extLst>
              <a:ext uri="{FF2B5EF4-FFF2-40B4-BE49-F238E27FC236}">
                <a16:creationId xmlns:a16="http://schemas.microsoft.com/office/drawing/2014/main" id="{0846E7DF-11E7-4B03-A8E2-C78B9453B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58"/>
          <a:stretch/>
        </p:blipFill>
        <p:spPr bwMode="auto">
          <a:xfrm>
            <a:off x="308309" y="1611481"/>
            <a:ext cx="2495550" cy="164606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16" name="Picture 4" descr="Caution: Female Construction Workers Routinely Experience Harassment and  Discrimination">
            <a:extLst>
              <a:ext uri="{FF2B5EF4-FFF2-40B4-BE49-F238E27FC236}">
                <a16:creationId xmlns:a16="http://schemas.microsoft.com/office/drawing/2014/main" id="{DAD5872C-16BC-4728-92C8-138987922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948" y="3104041"/>
            <a:ext cx="2619375" cy="174307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100" b="1" dirty="0"/>
              <a:t>Diversity</a:t>
            </a:r>
            <a:b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09A577A-BC3A-406B-8D22-E9A785768836}"/>
              </a:ext>
            </a:extLst>
          </p:cNvPr>
          <p:cNvSpPr txBox="1">
            <a:spLocks/>
          </p:cNvSpPr>
          <p:nvPr/>
        </p:nvSpPr>
        <p:spPr>
          <a:xfrm>
            <a:off x="4337108" y="1579865"/>
            <a:ext cx="7400688" cy="5136380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presentation 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, by level, by each ethnic minority group, women, and at senior levels; and then combinations of these  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EI Index”</a:t>
            </a:r>
          </a:p>
          <a:p>
            <a:pPr marL="800089" lvl="6" indent="-3429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posite of seven survey items designed to assess sentiments regarding DEI</a:t>
            </a:r>
          </a:p>
          <a:p>
            <a:pPr marL="1257277" lvl="7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uestions like “My company values and promotes diversity”, “Employees of all backgrounds can succeed at my company”, “My manager encourages diversity and inclusion”, etc.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positions considered “critical” to the business</a:t>
            </a:r>
          </a:p>
          <a:p>
            <a:pPr marL="800089" lvl="6" indent="-3429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hat percentage are held by women?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percentage are held by ethnic minorities?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4514" name="Picture 2" descr="Black Businessman&quot; Images – Browse 182 Stock Photos, Vectors, and Video |  Adobe Stock">
            <a:extLst>
              <a:ext uri="{FF2B5EF4-FFF2-40B4-BE49-F238E27FC236}">
                <a16:creationId xmlns:a16="http://schemas.microsoft.com/office/drawing/2014/main" id="{93400970-B09F-462F-9F84-4CB7548DB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08" y="4707105"/>
            <a:ext cx="2619375" cy="174307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0315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43AFB-C375-4642-A40B-549583C3C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ucce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95F2B-3547-452B-9670-33A97BA0D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6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D1B81-1AA6-4D06-B361-DBAC468D20D0}"/>
              </a:ext>
            </a:extLst>
          </p:cNvPr>
          <p:cNvSpPr txBox="1"/>
          <p:nvPr/>
        </p:nvSpPr>
        <p:spPr>
          <a:xfrm>
            <a:off x="421105" y="2095377"/>
            <a:ext cx="5931569" cy="3150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positions with at least 1 Ready Now successor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positions with no successor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 (any particular level) with potential to be promoted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 (any particular level) on at least one succession plan</a:t>
            </a:r>
          </a:p>
        </p:txBody>
      </p:sp>
      <p:pic>
        <p:nvPicPr>
          <p:cNvPr id="1026" name="Picture 2" descr="Intelligent Succession Planning for Security Careers | 2020-05-01 |  Security Magazine">
            <a:extLst>
              <a:ext uri="{FF2B5EF4-FFF2-40B4-BE49-F238E27FC236}">
                <a16:creationId xmlns:a16="http://schemas.microsoft.com/office/drawing/2014/main" id="{9B4B6F95-B37A-4977-AC80-9856C10DF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863" y="2035239"/>
            <a:ext cx="5101390" cy="312480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18479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43AFB-C375-4642-A40B-549583C3C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l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95F2B-3547-452B-9670-33A97BA0D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7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E199853-DAD1-4317-9F32-42963ACBD669}"/>
              </a:ext>
            </a:extLst>
          </p:cNvPr>
          <p:cNvSpPr txBox="1">
            <a:spLocks/>
          </p:cNvSpPr>
          <p:nvPr/>
        </p:nvSpPr>
        <p:spPr>
          <a:xfrm>
            <a:off x="4671252" y="1926072"/>
            <a:ext cx="7145821" cy="3774084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 external hires sourced through referral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nualized percent of exempt employees who changed role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cent of bonus eligible roles filled internally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cent of hiring managers claiming they would hire the same person again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wards - ratio of average top quartile bonus award to average of all bonus award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490" name="Picture 2" descr="portrait young diverse business team large Stock Footage Video (100%  Royalty-free) 4479206 | Shutterstock">
            <a:extLst>
              <a:ext uri="{FF2B5EF4-FFF2-40B4-BE49-F238E27FC236}">
                <a16:creationId xmlns:a16="http://schemas.microsoft.com/office/drawing/2014/main" id="{7652E6FB-B223-4F01-8472-A9382B2B27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17"/>
          <a:stretch/>
        </p:blipFill>
        <p:spPr bwMode="auto">
          <a:xfrm>
            <a:off x="284927" y="2454441"/>
            <a:ext cx="4083532" cy="25025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317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5C3AC-73BD-4FC0-AA1A-B40034B14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Good Analy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7FB44-CD2D-4288-AFDD-EBC3A2221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A27EC3-F2C9-4FB7-91BC-4C3E64F69227}"/>
              </a:ext>
            </a:extLst>
          </p:cNvPr>
          <p:cNvSpPr txBox="1"/>
          <p:nvPr/>
        </p:nvSpPr>
        <p:spPr>
          <a:xfrm>
            <a:off x="1341120" y="5577384"/>
            <a:ext cx="9833681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i="1" dirty="0"/>
              <a:t>If you can measure it, you can manage it…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17DC0AF-872D-4E60-A993-865177ADD4C8}"/>
              </a:ext>
            </a:extLst>
          </p:cNvPr>
          <p:cNvSpPr txBox="1">
            <a:spLocks/>
          </p:cNvSpPr>
          <p:nvPr/>
        </p:nvSpPr>
        <p:spPr>
          <a:xfrm>
            <a:off x="6190486" y="2115151"/>
            <a:ext cx="5830349" cy="2822887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rt with good data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“Combine” metrics for insight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ake the time to formulate good questions - what would be impactful to know?!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ire real Data Scientists to do the work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volve Leadership beyond HR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396" name="Picture 4" descr="The growing importance of People Analytics in HR | CIPD">
            <a:extLst>
              <a:ext uri="{FF2B5EF4-FFF2-40B4-BE49-F238E27FC236}">
                <a16:creationId xmlns:a16="http://schemas.microsoft.com/office/drawing/2014/main" id="{C0BC0DDB-B9E4-4193-A6DF-30A4D269B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101" y="2194096"/>
            <a:ext cx="4758921" cy="266499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52329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50820-9759-4FC1-9EFC-4AE9EDF8C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137" y="1802464"/>
            <a:ext cx="4948195" cy="281558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ings on the horizon to stay engaged and focused 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2E0D8-AF94-444C-A381-77BDF98D0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9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6A1B36-86F5-4F9E-BDDD-3AEFA6081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9775" y="0"/>
            <a:ext cx="56022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13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"/>
          <p:cNvSpPr/>
          <p:nvPr/>
        </p:nvSpPr>
        <p:spPr>
          <a:xfrm>
            <a:off x="1198215" y="1824575"/>
            <a:ext cx="2330953" cy="83192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Business Strategy</a:t>
            </a:r>
          </a:p>
        </p:txBody>
      </p:sp>
      <p:sp>
        <p:nvSpPr>
          <p:cNvPr id="142" name="Rectangle 2"/>
          <p:cNvSpPr/>
          <p:nvPr/>
        </p:nvSpPr>
        <p:spPr>
          <a:xfrm>
            <a:off x="3394659" y="3023036"/>
            <a:ext cx="2610806" cy="875288"/>
          </a:xfrm>
          <a:prstGeom prst="rect">
            <a:avLst/>
          </a:prstGeom>
          <a:solidFill>
            <a:srgbClr val="0070C0"/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Human Capital &amp; Talent Strategy</a:t>
            </a:r>
          </a:p>
        </p:txBody>
      </p:sp>
      <p:sp>
        <p:nvSpPr>
          <p:cNvPr id="143" name="Rectangle 3"/>
          <p:cNvSpPr/>
          <p:nvPr/>
        </p:nvSpPr>
        <p:spPr>
          <a:xfrm>
            <a:off x="5891643" y="4203802"/>
            <a:ext cx="2636418" cy="875248"/>
          </a:xfrm>
          <a:prstGeom prst="rect">
            <a:avLst/>
          </a:prstGeom>
          <a:solidFill>
            <a:schemeClr val="accent2"/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Strategic Execution and Alignment</a:t>
            </a:r>
          </a:p>
        </p:txBody>
      </p:sp>
      <p:sp>
        <p:nvSpPr>
          <p:cNvPr id="144" name="Rectangle 4"/>
          <p:cNvSpPr/>
          <p:nvPr/>
        </p:nvSpPr>
        <p:spPr>
          <a:xfrm>
            <a:off x="8425143" y="5419971"/>
            <a:ext cx="2711744" cy="8585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atin typeface="Lucida Grande" pitchFamily="-84" charset="0"/>
                <a:ea typeface="MS PGothic" pitchFamily="34" charset="-128"/>
              </a:rPr>
              <a:t>Metrics and Analytics (Accountability)</a:t>
            </a:r>
          </a:p>
        </p:txBody>
      </p:sp>
      <p:sp>
        <p:nvSpPr>
          <p:cNvPr id="150" name="Title 1"/>
          <p:cNvSpPr txBox="1"/>
          <p:nvPr/>
        </p:nvSpPr>
        <p:spPr>
          <a:xfrm>
            <a:off x="311065" y="315863"/>
            <a:ext cx="11397964" cy="6046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07" rIns="45707">
            <a:spAutoFit/>
          </a:bodyPr>
          <a:lstStyle>
            <a:lvl1pPr>
              <a:lnSpc>
                <a:spcPct val="90000"/>
              </a:lnSpc>
              <a:defRPr sz="240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3699" b="1" spc="67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Integrated Cascade of Choices</a:t>
            </a:r>
            <a:endParaRPr sz="3699" b="1" spc="67" dirty="0">
              <a:solidFill>
                <a:schemeClr val="bg1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173" name="ee4pContent1"/>
          <p:cNvSpPr txBox="1"/>
          <p:nvPr/>
        </p:nvSpPr>
        <p:spPr>
          <a:xfrm>
            <a:off x="1129809" y="2102037"/>
            <a:ext cx="16991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buSzPct val="100000"/>
              <a:buFont typeface="Trebuchet MS"/>
              <a:buChar char="​"/>
              <a:defRPr sz="2000">
                <a:solidFill>
                  <a:srgbClr val="FFFFFF"/>
                </a:solidFill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endParaRPr sz="1800" dirty="0">
              <a:latin typeface="Lucida Grande" pitchFamily="-84" charset="0"/>
              <a:ea typeface="MS PGothic" pitchFamily="34" charset="-128"/>
            </a:endParaRPr>
          </a:p>
        </p:txBody>
      </p:sp>
      <p:sp>
        <p:nvSpPr>
          <p:cNvPr id="175" name="ee4pContent3"/>
          <p:cNvSpPr txBox="1"/>
          <p:nvPr/>
        </p:nvSpPr>
        <p:spPr>
          <a:xfrm>
            <a:off x="6689102" y="4583610"/>
            <a:ext cx="22411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buSzPct val="100000"/>
              <a:buFont typeface="Trebuchet MS"/>
              <a:buChar char="​"/>
              <a:defRPr sz="2000">
                <a:solidFill>
                  <a:srgbClr val="FFFFFF"/>
                </a:solidFill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endParaRPr sz="1800" dirty="0">
              <a:latin typeface="Lucida Grande" pitchFamily="-84" charset="0"/>
              <a:ea typeface="MS PGothic" pitchFamily="34" charset="-128"/>
            </a:endParaRP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AF691A95-6E58-407F-BE5E-8A21A9752832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2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7113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8086-60B4-4FE9-8F06-2BD4CA1CE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11" y="0"/>
            <a:ext cx="12035589" cy="1295400"/>
          </a:xfrm>
        </p:spPr>
        <p:txBody>
          <a:bodyPr>
            <a:normAutofit/>
          </a:bodyPr>
          <a:lstStyle/>
          <a:p>
            <a:r>
              <a:rPr lang="en-US" dirty="0"/>
              <a:t>Potential Securities and Exchange Commission  Regu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AFE24-ECC8-4F63-B841-C407B160B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20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AC37E2B-957C-41DB-9F16-C983343B5A65}"/>
              </a:ext>
            </a:extLst>
          </p:cNvPr>
          <p:cNvSpPr txBox="1">
            <a:spLocks/>
          </p:cNvSpPr>
          <p:nvPr/>
        </p:nvSpPr>
        <p:spPr>
          <a:xfrm>
            <a:off x="4899171" y="1809821"/>
            <a:ext cx="7216942" cy="4096267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require more specific data vs previous “principles based” approach</a:t>
            </a: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ill likely be four areas of specific data required: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orkforce Composition (including Contractors)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Employee Costs - comp, benefits, training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urnover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versity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e toward generally accepted HC measures, a la GAAP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we should only expect this to get broader …..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 equity, employee engagement, representation by level, etc.</a:t>
            </a:r>
          </a:p>
          <a:p>
            <a:pPr marL="0" lvl="5" indent="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None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468" name="Picture 4" descr="binoculars, macro, device">
            <a:extLst>
              <a:ext uri="{FF2B5EF4-FFF2-40B4-BE49-F238E27FC236}">
                <a16:creationId xmlns:a16="http://schemas.microsoft.com/office/drawing/2014/main" id="{7492559C-B733-43CB-9A30-DB5387737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80" y="2239746"/>
            <a:ext cx="4423953" cy="300337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7241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7E28E8-1D88-40A2-82C1-2251D3BE73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158F0A-A6E4-4D7C-B624-F5CC615CA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CD39C1B-F4B2-4FA9-946A-831E20EA666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2" name="Picture 4" descr="Q&amp;A with Analizbeth - Insights">
            <a:extLst>
              <a:ext uri="{FF2B5EF4-FFF2-40B4-BE49-F238E27FC236}">
                <a16:creationId xmlns:a16="http://schemas.microsoft.com/office/drawing/2014/main" id="{694F328E-12D9-4867-B269-D5FA67C1CC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79" b="10562"/>
          <a:stretch/>
        </p:blipFill>
        <p:spPr bwMode="auto">
          <a:xfrm>
            <a:off x="0" y="1259480"/>
            <a:ext cx="12192000" cy="559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7214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9410CB0-8D49-444E-AD18-ED4F0436D7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929" y="1459833"/>
            <a:ext cx="7526599" cy="50507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429FAA-995A-41A2-A88B-445564D13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669" y="894"/>
            <a:ext cx="11477810" cy="1295063"/>
          </a:xfrm>
        </p:spPr>
        <p:txBody>
          <a:bodyPr>
            <a:normAutofit/>
          </a:bodyPr>
          <a:lstStyle/>
          <a:p>
            <a:r>
              <a:rPr lang="en-US" sz="3699" b="1" dirty="0">
                <a:ea typeface="+mj-lt"/>
                <a:cs typeface="+mj-lt"/>
              </a:rPr>
              <a:t>How it “all fits together” – Company Example 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EC64E35D-1FDE-4C92-90EF-1C025990A115}"/>
              </a:ext>
            </a:extLst>
          </p:cNvPr>
          <p:cNvSpPr/>
          <p:nvPr/>
        </p:nvSpPr>
        <p:spPr>
          <a:xfrm>
            <a:off x="7915362" y="2056224"/>
            <a:ext cx="231461" cy="828208"/>
          </a:xfrm>
          <a:prstGeom prst="rightBrace">
            <a:avLst>
              <a:gd name="adj1" fmla="val 25371"/>
              <a:gd name="adj2" fmla="val 50000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41CEFAE-1A8D-49AD-A58D-9EA8B1A1E4B2}"/>
              </a:ext>
            </a:extLst>
          </p:cNvPr>
          <p:cNvSpPr txBox="1">
            <a:spLocks/>
          </p:cNvSpPr>
          <p:nvPr/>
        </p:nvSpPr>
        <p:spPr>
          <a:xfrm>
            <a:off x="8578728" y="2041279"/>
            <a:ext cx="3195482" cy="4740692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strategic and financial outcomes does our Company need to deliver?</a:t>
            </a:r>
          </a:p>
          <a:p>
            <a:pPr marL="0" indent="0" defTabSz="914103">
              <a:spcAft>
                <a:spcPts val="1866"/>
              </a:spcAft>
              <a:buNone/>
              <a:defRPr/>
            </a:pPr>
            <a:endParaRPr lang="en-US" sz="100" dirty="0">
              <a:solidFill>
                <a:srgbClr val="000000"/>
              </a:solidFill>
              <a:latin typeface="Franklin Gothic Medium" panose="020B0603020102020204"/>
            </a:endParaRPr>
          </a:p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value do our key stakeholders expect from us?</a:t>
            </a:r>
          </a:p>
          <a:p>
            <a:pPr marL="0" indent="0" defTabSz="914103">
              <a:spcAft>
                <a:spcPts val="1866"/>
              </a:spcAft>
              <a:buNone/>
              <a:defRPr/>
            </a:pPr>
            <a:endParaRPr lang="en-US" sz="1999" dirty="0">
              <a:solidFill>
                <a:srgbClr val="000000"/>
              </a:solidFill>
              <a:latin typeface="Franklin Gothic Medium" panose="020B0603020102020204"/>
            </a:endParaRPr>
          </a:p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capabilities and culture are required to deliver value to our stakeholders and achieve our strategic and financial outcomes?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014A267D-1995-4827-9DE1-B56BF84680D3}"/>
              </a:ext>
            </a:extLst>
          </p:cNvPr>
          <p:cNvSpPr/>
          <p:nvPr/>
        </p:nvSpPr>
        <p:spPr>
          <a:xfrm>
            <a:off x="7915361" y="3848698"/>
            <a:ext cx="222498" cy="1875712"/>
          </a:xfrm>
          <a:prstGeom prst="rightBrace">
            <a:avLst>
              <a:gd name="adj1" fmla="val 26393"/>
              <a:gd name="adj2" fmla="val 49522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73D97932-A5AB-4A6A-BA22-F4B648365D23}"/>
              </a:ext>
            </a:extLst>
          </p:cNvPr>
          <p:cNvSpPr/>
          <p:nvPr/>
        </p:nvSpPr>
        <p:spPr>
          <a:xfrm>
            <a:off x="7915362" y="2970387"/>
            <a:ext cx="233022" cy="773341"/>
          </a:xfrm>
          <a:prstGeom prst="rightBrace">
            <a:avLst>
              <a:gd name="adj1" fmla="val 14402"/>
              <a:gd name="adj2" fmla="val 50000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0C2CF1EB-868B-4CDA-80B4-7EE2101371FC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3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10347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AF691A95-6E58-407F-BE5E-8A21A9752832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4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17FE4A4-A195-4245-9B36-EF3003208FAD}"/>
              </a:ext>
            </a:extLst>
          </p:cNvPr>
          <p:cNvSpPr txBox="1">
            <a:spLocks/>
          </p:cNvSpPr>
          <p:nvPr/>
        </p:nvSpPr>
        <p:spPr>
          <a:xfrm>
            <a:off x="348916" y="459988"/>
            <a:ext cx="12636097" cy="132521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1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spc="67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ea typeface="+mj-lt"/>
                <a:cs typeface="+mj-lt"/>
                <a:sym typeface="Calibri Light"/>
              </a:rPr>
              <a:t>BUSINESS STRATEGY        HUMAN CAPITAL and TALENT STRATEGY</a:t>
            </a:r>
          </a:p>
        </p:txBody>
      </p:sp>
      <p:sp>
        <p:nvSpPr>
          <p:cNvPr id="11" name="Arrow: Right 7">
            <a:extLst>
              <a:ext uri="{FF2B5EF4-FFF2-40B4-BE49-F238E27FC236}">
                <a16:creationId xmlns:a16="http://schemas.microsoft.com/office/drawing/2014/main" id="{C14533AA-8F10-4FD8-896E-8F5EDBDE417A}"/>
              </a:ext>
            </a:extLst>
          </p:cNvPr>
          <p:cNvSpPr/>
          <p:nvPr/>
        </p:nvSpPr>
        <p:spPr>
          <a:xfrm>
            <a:off x="4208190" y="368656"/>
            <a:ext cx="568813" cy="54574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2060"/>
          </a:solidFill>
          <a:ln w="12700">
            <a:solidFill>
              <a:srgbClr val="32538F"/>
            </a:solidFill>
            <a:miter/>
          </a:ln>
        </p:spPr>
        <p:txBody>
          <a:bodyPr lIns="45707" rIns="45707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3903B4-DFB6-40FC-8B37-8052C6777454}"/>
              </a:ext>
            </a:extLst>
          </p:cNvPr>
          <p:cNvSpPr/>
          <p:nvPr/>
        </p:nvSpPr>
        <p:spPr>
          <a:xfrm>
            <a:off x="4956369" y="2715738"/>
            <a:ext cx="428387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3600" dirty="0">
                <a:solidFill>
                  <a:schemeClr val="accent1"/>
                </a:solidFill>
                <a:latin typeface="Montserrat Black" pitchFamily="2" charset="77"/>
              </a:rPr>
              <a:t>Where to Pla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chemeClr val="accent1"/>
              </a:solidFill>
              <a:latin typeface="Montserrat Black" pitchFamily="2" charset="77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chemeClr val="accent1"/>
              </a:solidFill>
              <a:latin typeface="Montserrat Black" pitchFamily="2" charset="77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3600" dirty="0">
                <a:solidFill>
                  <a:schemeClr val="accent1"/>
                </a:solidFill>
                <a:latin typeface="Montserrat Black" pitchFamily="2" charset="77"/>
              </a:rPr>
              <a:t>How to Wi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u="none" strike="noStrike" dirty="0">
              <a:solidFill>
                <a:schemeClr val="accent1"/>
              </a:solidFill>
              <a:effectLst/>
              <a:latin typeface="Montserrat Black" pitchFamily="2" charset="77"/>
            </a:endParaRPr>
          </a:p>
        </p:txBody>
      </p:sp>
      <p:pic>
        <p:nvPicPr>
          <p:cNvPr id="5" name="Graphic 4" descr="Map compass outline">
            <a:extLst>
              <a:ext uri="{FF2B5EF4-FFF2-40B4-BE49-F238E27FC236}">
                <a16:creationId xmlns:a16="http://schemas.microsoft.com/office/drawing/2014/main" id="{895BAAA3-64EC-4842-99AD-D4E5DA3399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50129" y="2339750"/>
            <a:ext cx="1407695" cy="1407695"/>
          </a:xfrm>
          <a:prstGeom prst="rect">
            <a:avLst/>
          </a:prstGeom>
        </p:spPr>
      </p:pic>
      <p:pic>
        <p:nvPicPr>
          <p:cNvPr id="4" name="Graphic 3" descr="Playbook outline">
            <a:extLst>
              <a:ext uri="{FF2B5EF4-FFF2-40B4-BE49-F238E27FC236}">
                <a16:creationId xmlns:a16="http://schemas.microsoft.com/office/drawing/2014/main" id="{5B20134B-2454-4D99-B30F-CE42667FE5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13094" y="4069083"/>
            <a:ext cx="1281764" cy="128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44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225" y="5007776"/>
            <a:ext cx="10713333" cy="788633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8608" y="3258724"/>
            <a:ext cx="10713333" cy="2099539"/>
          </a:xfrm>
        </p:spPr>
        <p:txBody>
          <a:bodyPr/>
          <a:lstStyle/>
          <a:p>
            <a:r>
              <a:rPr lang="en-US" alt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ategic Execution and Alignment </a:t>
            </a:r>
            <a:endParaRPr lang="en-US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70655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6960F723-9CC4-4E9D-A777-C200932C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60" y="382605"/>
            <a:ext cx="10556240" cy="772160"/>
          </a:xfrm>
        </p:spPr>
        <p:txBody>
          <a:bodyPr>
            <a:normAutofit/>
          </a:bodyPr>
          <a:lstStyle/>
          <a:p>
            <a:r>
              <a:rPr lang="en-US" sz="3700" b="1" dirty="0">
                <a:solidFill>
                  <a:schemeClr val="bg1"/>
                </a:solidFill>
                <a:ea typeface="+mj-lt"/>
                <a:cs typeface="+mj-lt"/>
              </a:rPr>
              <a:t>Outcomes of Effective HR Strategy Execu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112372-A796-4436-9E21-126E0D4D4F1F}"/>
              </a:ext>
            </a:extLst>
          </p:cNvPr>
          <p:cNvSpPr/>
          <p:nvPr/>
        </p:nvSpPr>
        <p:spPr>
          <a:xfrm>
            <a:off x="312820" y="1455815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urpo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F1CE5D-6222-4424-81E6-076DD7036FA5}"/>
              </a:ext>
            </a:extLst>
          </p:cNvPr>
          <p:cNvSpPr/>
          <p:nvPr/>
        </p:nvSpPr>
        <p:spPr>
          <a:xfrm>
            <a:off x="312820" y="2704791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eop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DF1343-689A-474D-B56B-09D59CEF909E}"/>
              </a:ext>
            </a:extLst>
          </p:cNvPr>
          <p:cNvSpPr/>
          <p:nvPr/>
        </p:nvSpPr>
        <p:spPr>
          <a:xfrm>
            <a:off x="304799" y="4053496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roces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2A980A-9872-4512-A25A-FA3D9A89DC7E}"/>
              </a:ext>
            </a:extLst>
          </p:cNvPr>
          <p:cNvSpPr/>
          <p:nvPr/>
        </p:nvSpPr>
        <p:spPr>
          <a:xfrm>
            <a:off x="304799" y="5538531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ayoff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EC6915-0030-4C2A-A216-4CC276709CE5}"/>
              </a:ext>
            </a:extLst>
          </p:cNvPr>
          <p:cNvSpPr txBox="1"/>
          <p:nvPr/>
        </p:nvSpPr>
        <p:spPr>
          <a:xfrm>
            <a:off x="3109495" y="1523402"/>
            <a:ext cx="8633471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larity of Purpose: Ensuring linkage to the company business purpose and higher-order strategic goals through goal cascade process and ongoing communications. </a:t>
            </a:r>
          </a:p>
          <a:p>
            <a:pPr marL="227013" indent="234950">
              <a:spcBef>
                <a:spcPts val="60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Arial" panose="020B0604020202020204" pitchFamily="34" charset="0"/>
              </a:rPr>
              <a:t>HR understands how they create value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D733FC-2746-4373-BD4D-7D1B5684C629}"/>
              </a:ext>
            </a:extLst>
          </p:cNvPr>
          <p:cNvSpPr txBox="1"/>
          <p:nvPr/>
        </p:nvSpPr>
        <p:spPr>
          <a:xfrm>
            <a:off x="3109495" y="2812944"/>
            <a:ext cx="86726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336550" fontAlgn="auto">
              <a:spcBef>
                <a:spcPts val="60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Building the HR organization capabilities/talent to have “the functional domain expertise” to deliver functional excellence required for company strategy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B35D0C-B244-4D69-B99E-4378E22FC1C8}"/>
              </a:ext>
            </a:extLst>
          </p:cNvPr>
          <p:cNvSpPr txBox="1"/>
          <p:nvPr/>
        </p:nvSpPr>
        <p:spPr>
          <a:xfrm>
            <a:off x="3109495" y="3866182"/>
            <a:ext cx="876667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0" i="0" u="none" strike="noStrike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op HR organizations are focused on continuous improvement, critically evaluating where their value is optimal and where they need improvement.  Methods to obtain stakeholder feedback exist.</a:t>
            </a:r>
            <a:endParaRPr lang="en-US" b="0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R</a:t>
            </a:r>
            <a:r>
              <a:rPr lang="en-US" sz="1600" b="0" i="0" u="none" strike="noStrike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sources are consistent with the requirements to deliver your company business strategy – be willing to make trade-offs and prioritize.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B33FA1-93FD-4E36-8C48-C2250BD6B327}"/>
              </a:ext>
            </a:extLst>
          </p:cNvPr>
          <p:cNvSpPr txBox="1"/>
          <p:nvPr/>
        </p:nvSpPr>
        <p:spPr>
          <a:xfrm>
            <a:off x="3109495" y="5490510"/>
            <a:ext cx="877069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Delivering real and consistent value to the enterprise and all stakeholders</a:t>
            </a:r>
          </a:p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Demonstrating “Functional Excellence” for other functions in the organization</a:t>
            </a:r>
          </a:p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reating an HR Organization that is a desired place for top talent to come and to stay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781B1D-F6C2-4491-BC0B-186BC3F63F6C}"/>
              </a:ext>
            </a:extLst>
          </p:cNvPr>
          <p:cNvCxnSpPr>
            <a:cxnSpLocks/>
          </p:cNvCxnSpPr>
          <p:nvPr/>
        </p:nvCxnSpPr>
        <p:spPr>
          <a:xfrm>
            <a:off x="3079752" y="2462464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CCB1AE6-A3C3-4E00-8015-D07F530BE588}"/>
              </a:ext>
            </a:extLst>
          </p:cNvPr>
          <p:cNvCxnSpPr>
            <a:cxnSpLocks/>
          </p:cNvCxnSpPr>
          <p:nvPr/>
        </p:nvCxnSpPr>
        <p:spPr>
          <a:xfrm>
            <a:off x="3079752" y="3711440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407973-CF44-4F9F-9BDB-175E242525F0}"/>
              </a:ext>
            </a:extLst>
          </p:cNvPr>
          <p:cNvCxnSpPr>
            <a:cxnSpLocks/>
          </p:cNvCxnSpPr>
          <p:nvPr/>
        </p:nvCxnSpPr>
        <p:spPr>
          <a:xfrm>
            <a:off x="3079752" y="5341213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41342CBA-E301-48CB-8D96-5EBDDADCC415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6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04297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6BCF75-43E2-45FF-B58F-DD026022F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171" y="2410116"/>
            <a:ext cx="3267075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9D918B7-E7D4-45A5-9DBD-676095F4830E}"/>
              </a:ext>
            </a:extLst>
          </p:cNvPr>
          <p:cNvSpPr txBox="1">
            <a:spLocks/>
          </p:cNvSpPr>
          <p:nvPr/>
        </p:nvSpPr>
        <p:spPr>
          <a:xfrm>
            <a:off x="219145" y="278295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6464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defTabSz="914377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700" spc="67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Comprehensive Strategy Execution is an Ongoing Expectation for CHROs to Demonstrate, Teach and Coach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1145671-AA87-44B8-8564-41A00A24C7E9}"/>
              </a:ext>
            </a:extLst>
          </p:cNvPr>
          <p:cNvSpPr txBox="1">
            <a:spLocks/>
          </p:cNvSpPr>
          <p:nvPr/>
        </p:nvSpPr>
        <p:spPr>
          <a:xfrm>
            <a:off x="406620" y="1709076"/>
            <a:ext cx="6066012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2575" indent="-2825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•"/>
              <a:defRPr sz="20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1546225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–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Ten Reasons Strategies Fail (Forbes)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ving a plan simply for plans sak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understanding the environment or focusing on result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al commitment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having the right peopl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ing a plan and putting it on the shelf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willingness or inability to chang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ving the wrong people in leadership position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gnoring marketplace reality, facts, and assumption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accountability or follow through</a:t>
            </a:r>
          </a:p>
          <a:p>
            <a:pPr marL="577850" marR="0" lvl="0" indent="-5778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alistic goals or lack of focus and resour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864F3D-3344-40A9-858C-60CF1B7765DB}"/>
              </a:ext>
            </a:extLst>
          </p:cNvPr>
          <p:cNvSpPr txBox="1"/>
          <p:nvPr/>
        </p:nvSpPr>
        <p:spPr>
          <a:xfrm>
            <a:off x="6879364" y="5790909"/>
            <a:ext cx="48198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you don’t have the right capabilities for your strategy, you’re playing prete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70DC5-009C-429E-BF1F-E32FEA73A1FB}"/>
              </a:ext>
            </a:extLst>
          </p:cNvPr>
          <p:cNvSpPr txBox="1"/>
          <p:nvPr/>
        </p:nvSpPr>
        <p:spPr>
          <a:xfrm>
            <a:off x="608309" y="5396744"/>
            <a:ext cx="52405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ggest sources of failure are capability and cul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41B19D-4ABB-42D5-B5A5-F7D57E958AD8}"/>
              </a:ext>
            </a:extLst>
          </p:cNvPr>
          <p:cNvSpPr txBox="1"/>
          <p:nvPr/>
        </p:nvSpPr>
        <p:spPr>
          <a:xfrm>
            <a:off x="6812198" y="1819305"/>
            <a:ext cx="48869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es change and evolve as a function of environment and aspi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79542D-F118-4166-8DE5-B59CF38150E5}"/>
              </a:ext>
            </a:extLst>
          </p:cNvPr>
          <p:cNvSpPr txBox="1"/>
          <p:nvPr/>
        </p:nvSpPr>
        <p:spPr>
          <a:xfrm>
            <a:off x="8245304" y="3530620"/>
            <a:ext cx="19250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one thing competition cannot replicate is your people and cultur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A8DDE183-A013-4116-A220-BF320FC44A29}"/>
              </a:ext>
            </a:extLst>
          </p:cNvPr>
          <p:cNvSpPr txBox="1">
            <a:spLocks/>
          </p:cNvSpPr>
          <p:nvPr/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3540EFE-A102-4086-A887-2211CCB2C6B3}" type="slidenum">
              <a:rPr lang="en-US" sz="1200" smtClean="0"/>
              <a:pPr algn="ctr"/>
              <a:t>7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17088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C9000-8120-43D7-AE23-C62CD3985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356" y="244402"/>
            <a:ext cx="11593802" cy="919098"/>
          </a:xfrm>
        </p:spPr>
        <p:txBody>
          <a:bodyPr/>
          <a:lstStyle/>
          <a:p>
            <a:r>
              <a:rPr lang="en-US" b="1" dirty="0"/>
              <a:t>Developing the “Critical HR Domain Expertise” for Functional Excellence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FE0913-78F4-4B0E-A185-0809D57D87C2}"/>
              </a:ext>
            </a:extLst>
          </p:cNvPr>
          <p:cNvSpPr txBox="1"/>
          <p:nvPr/>
        </p:nvSpPr>
        <p:spPr>
          <a:xfrm>
            <a:off x="4044124" y="1687510"/>
            <a:ext cx="7673695" cy="3585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4488" indent="-344488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 Dedicated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e.g., Dedicated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R Partners to drive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business growth.  </a:t>
            </a:r>
          </a:p>
          <a:p>
            <a:pPr marL="344488"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ique HR Domain Expertise required to enable a business’s strategic people success and financial outcomes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e.g., Human Capital Business Partner) </a:t>
            </a: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s of Excellence/Expertise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pecialized talent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required to enable multiple businesses and functional success (e.g.,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rganization Effectiveness, Total Reward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 Operations or Shared Services, Enabled by Technology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The talent required to ensure the basic HR tools, processes and systems are effective and efficient (e.g., benefits administration, time and attendance, payroll, etc.)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 Party Assistance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HR Talent “on-loan” including gig workers, or third-party HR vendors to the business to handle ad hoc needs, such as potential M&amp;A, special projects, etc. 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F04141-88EE-46DC-9EE0-7C6402335024}"/>
              </a:ext>
            </a:extLst>
          </p:cNvPr>
          <p:cNvSpPr txBox="1"/>
          <p:nvPr/>
        </p:nvSpPr>
        <p:spPr>
          <a:xfrm>
            <a:off x="1320882" y="5537583"/>
            <a:ext cx="9568322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i="1" dirty="0"/>
              <a:t>A holistic HR Model is required with appropriate knowledge and skills that works together to create business valu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F6DF68D-1433-4EF2-A0D0-9C302881F703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8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pic>
        <p:nvPicPr>
          <p:cNvPr id="58378" name="Picture 10" descr="Diverse Teams Produce Better Results | Leading in a Changing World">
            <a:extLst>
              <a:ext uri="{FF2B5EF4-FFF2-40B4-BE49-F238E27FC236}">
                <a16:creationId xmlns:a16="http://schemas.microsoft.com/office/drawing/2014/main" id="{C6A0B32A-B559-4A3F-AD70-FDA799A7B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68" y="2032508"/>
            <a:ext cx="2908527" cy="289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029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F52D6-A4A7-4CE2-8C63-E2D1EF061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scussion Quest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8E6988-98AE-4D9E-A76F-57597A2171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6999" y="1982905"/>
            <a:ext cx="6441313" cy="4197684"/>
          </a:xfr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4488" indent="-344488">
              <a:spcAft>
                <a:spcPts val="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you have the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 HR Domain Expertise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is needed to deliver on your business strategies?  </a:t>
            </a:r>
          </a:p>
          <a:p>
            <a:pPr marL="344488" indent="0">
              <a:spcAft>
                <a:spcPts val="1000"/>
              </a:spcAft>
              <a:buSzPct val="80000"/>
              <a:buNone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are there opportunities to improve?</a:t>
            </a:r>
          </a:p>
          <a:p>
            <a:pPr>
              <a:spcAft>
                <a:spcPts val="1000"/>
              </a:spcAft>
              <a:buFont typeface="Wingdings" panose="05000000000000000000" pitchFamily="2" charset="2"/>
              <a:buChar char="q"/>
            </a:pPr>
            <a:endParaRPr lang="en-US" sz="2000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you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 to evolve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R Delivery Model to add more value – more effectiveness and efficiency?  What training, systems, processes or tools are needed?</a:t>
            </a: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endParaRPr lang="en-US" sz="2000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you have a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 team that is aligned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liver the value required to be a premier HR organization? </a:t>
            </a:r>
          </a:p>
        </p:txBody>
      </p:sp>
      <p:pic>
        <p:nvPicPr>
          <p:cNvPr id="6" name="Picture 4" descr="Cross Currents: How Contemporary Governance Reforms Challenge Board  Diversity | Lead Read Today | Lead Read Today">
            <a:extLst>
              <a:ext uri="{FF2B5EF4-FFF2-40B4-BE49-F238E27FC236}">
                <a16:creationId xmlns:a16="http://schemas.microsoft.com/office/drawing/2014/main" id="{13868DE4-1571-4A3F-8B2E-EFCDF0E6A5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0" r="13112"/>
          <a:stretch/>
        </p:blipFill>
        <p:spPr bwMode="auto">
          <a:xfrm>
            <a:off x="7036853" y="2424314"/>
            <a:ext cx="4557175" cy="305392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656F31F-3DA1-4AAA-8D63-B4749DCFA8D6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9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08413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N 2020 Navy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" id="{B94B31C3-5280-CD42-A7A7-535D3238F7EC}" vid="{620B0485-73D1-DB41-ABB2-4202A046EC0F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ower Righ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50B3D8AD-C5B3-6443-8FA5-4BA013CA5869}"/>
    </a:ext>
  </a:extLst>
</a:theme>
</file>

<file path=ppt/theme/theme3.xml><?xml version="1.0" encoding="utf-8"?>
<a:theme xmlns:a="http://schemas.openxmlformats.org/drawingml/2006/main" name="Lower Gray Gradien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7483FDB2-8BA0-B543-892E-6AE9ED6CF684}"/>
    </a:ext>
  </a:extLst>
</a:theme>
</file>

<file path=ppt/theme/theme4.xml><?xml version="1.0" encoding="utf-8"?>
<a:theme xmlns:a="http://schemas.openxmlformats.org/drawingml/2006/main" name="Upper Lef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EA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6D03B1C9-4D74-F14F-A1A6-744DB68C67C0}"/>
    </a:ext>
  </a:extLst>
</a:theme>
</file>

<file path=ppt/theme/theme5.xml><?xml version="1.0" encoding="utf-8"?>
<a:theme xmlns:a="http://schemas.openxmlformats.org/drawingml/2006/main" name="7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6.xml><?xml version="1.0" encoding="utf-8"?>
<a:theme xmlns:a="http://schemas.openxmlformats.org/drawingml/2006/main" name="13_Office Theme">
  <a:themeElements>
    <a:clrScheme name="NOVA">
      <a:dk1>
        <a:srgbClr val="000000"/>
      </a:dk1>
      <a:lt1>
        <a:srgbClr val="FFFFFF"/>
      </a:lt1>
      <a:dk2>
        <a:srgbClr val="00629B"/>
      </a:dk2>
      <a:lt2>
        <a:srgbClr val="FFFFFF"/>
      </a:lt2>
      <a:accent1>
        <a:srgbClr val="00629B"/>
      </a:accent1>
      <a:accent2>
        <a:srgbClr val="00C1B5"/>
      </a:accent2>
      <a:accent3>
        <a:srgbClr val="E5EFF4"/>
      </a:accent3>
      <a:accent4>
        <a:srgbClr val="EAEAEA"/>
      </a:accent4>
      <a:accent5>
        <a:srgbClr val="000000"/>
      </a:accent5>
      <a:accent6>
        <a:srgbClr val="FFFFFF"/>
      </a:accent6>
      <a:hlink>
        <a:srgbClr val="00629B"/>
      </a:hlink>
      <a:folHlink>
        <a:srgbClr val="00C1B5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8720004-094_Eastman_2021_ID_PPT_Template_hz2.pptx" id="{FE367796-E1CD-8C44-B6EC-E8F7194D083A}" vid="{BC7F4F7C-4855-2648-B0B0-A9759C18B759}"/>
    </a:ext>
  </a:extLst>
</a:theme>
</file>

<file path=ppt/theme/theme7.xml><?xml version="1.0" encoding="utf-8"?>
<a:theme xmlns:a="http://schemas.openxmlformats.org/drawingml/2006/main" name="10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8.xml><?xml version="1.0" encoding="utf-8"?>
<a:theme xmlns:a="http://schemas.openxmlformats.org/drawingml/2006/main" name="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9.xml><?xml version="1.0" encoding="utf-8"?>
<a:theme xmlns:a="http://schemas.openxmlformats.org/drawingml/2006/main" name="14_Office Theme">
  <a:themeElements>
    <a:clrScheme name="NOVA">
      <a:dk1>
        <a:srgbClr val="000000"/>
      </a:dk1>
      <a:lt1>
        <a:srgbClr val="FFFFFF"/>
      </a:lt1>
      <a:dk2>
        <a:srgbClr val="00629B"/>
      </a:dk2>
      <a:lt2>
        <a:srgbClr val="FFFFFF"/>
      </a:lt2>
      <a:accent1>
        <a:srgbClr val="00629B"/>
      </a:accent1>
      <a:accent2>
        <a:srgbClr val="00C1B5"/>
      </a:accent2>
      <a:accent3>
        <a:srgbClr val="E5EFF4"/>
      </a:accent3>
      <a:accent4>
        <a:srgbClr val="EAEAEA"/>
      </a:accent4>
      <a:accent5>
        <a:srgbClr val="000000"/>
      </a:accent5>
      <a:accent6>
        <a:srgbClr val="FFFFFF"/>
      </a:accent6>
      <a:hlink>
        <a:srgbClr val="00629B"/>
      </a:hlink>
      <a:folHlink>
        <a:srgbClr val="00C1B5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8720004-094_Eastman_2021_ID_PPT_Template_hz2.pptx" id="{FE367796-E1CD-8C44-B6EC-E8F7194D083A}" vid="{BC7F4F7C-4855-2648-B0B0-A9759C18B75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DE7606B77BE04E9F08A7E8DFDC24F6" ma:contentTypeVersion="4" ma:contentTypeDescription="Create a new document." ma:contentTypeScope="" ma:versionID="1a116183412d97e61a3e559fafe8655c">
  <xsd:schema xmlns:xsd="http://www.w3.org/2001/XMLSchema" xmlns:xs="http://www.w3.org/2001/XMLSchema" xmlns:p="http://schemas.microsoft.com/office/2006/metadata/properties" xmlns:ns2="87eb6aeb-60e4-4b27-a2eb-7ee827b915e9" targetNamespace="http://schemas.microsoft.com/office/2006/metadata/properties" ma:root="true" ma:fieldsID="bd64df9f18fcfd1912f3c5f68ad06661" ns2:_="">
    <xsd:import namespace="87eb6aeb-60e4-4b27-a2eb-7ee827b91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eb6aeb-60e4-4b27-a2eb-7ee827b915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FCEFB01-43CA-4FFA-B7E1-A3BA5E15C753}">
  <ds:schemaRefs>
    <ds:schemaRef ds:uri="87eb6aeb-60e4-4b27-a2eb-7ee827b915e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D4B2AA1-963B-4C8B-BF7D-93FB1698C8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553492-DF39-4803-BF86-06E7B6D28F37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87eb6aeb-60e4-4b27-a2eb-7ee827b915e9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MN 2020 Navy</Template>
  <TotalTime>1919</TotalTime>
  <Words>1278</Words>
  <Application>Microsoft Office PowerPoint</Application>
  <PresentationFormat>Widescreen</PresentationFormat>
  <Paragraphs>169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1" baseType="lpstr">
      <vt:lpstr>Arial</vt:lpstr>
      <vt:lpstr>Calibri</vt:lpstr>
      <vt:lpstr>Franklin Gothic Book</vt:lpstr>
      <vt:lpstr>Franklin Gothic Medium</vt:lpstr>
      <vt:lpstr>Lucida Grande</vt:lpstr>
      <vt:lpstr>Montserrat Black</vt:lpstr>
      <vt:lpstr>Segoe UI</vt:lpstr>
      <vt:lpstr>System Font Regular</vt:lpstr>
      <vt:lpstr>Trebuchet MS</vt:lpstr>
      <vt:lpstr>Wingdings</vt:lpstr>
      <vt:lpstr>EMN 2020 Navy</vt:lpstr>
      <vt:lpstr>Lower Right</vt:lpstr>
      <vt:lpstr>Lower Gray Gradient</vt:lpstr>
      <vt:lpstr>Upper Left</vt:lpstr>
      <vt:lpstr>7_White</vt:lpstr>
      <vt:lpstr>13_Office Theme</vt:lpstr>
      <vt:lpstr>10_White</vt:lpstr>
      <vt:lpstr>5_White</vt:lpstr>
      <vt:lpstr>14_Office Theme</vt:lpstr>
      <vt:lpstr>think-cell Slide</vt:lpstr>
      <vt:lpstr>HR Strategy and Operations </vt:lpstr>
      <vt:lpstr>PowerPoint Presentation</vt:lpstr>
      <vt:lpstr>How it “all fits together” – Company Example </vt:lpstr>
      <vt:lpstr>PowerPoint Presentation</vt:lpstr>
      <vt:lpstr>Strategic Execution and Alignment </vt:lpstr>
      <vt:lpstr>Outcomes of Effective HR Strategy Execution </vt:lpstr>
      <vt:lpstr>PowerPoint Presentation</vt:lpstr>
      <vt:lpstr>Developing the “Critical HR Domain Expertise” for Functional Excellence </vt:lpstr>
      <vt:lpstr>Discussion Questions</vt:lpstr>
      <vt:lpstr>Metrics, Scorecard &amp; Analytics</vt:lpstr>
      <vt:lpstr>Measurement is key to your strategy and operations</vt:lpstr>
      <vt:lpstr>At Cigna we dove deep into five basic areas</vt:lpstr>
      <vt:lpstr>PowerPoint Presentation</vt:lpstr>
      <vt:lpstr>    Turnover </vt:lpstr>
      <vt:lpstr>    Diversity </vt:lpstr>
      <vt:lpstr>Succession</vt:lpstr>
      <vt:lpstr>Talent Management</vt:lpstr>
      <vt:lpstr>Good Analytics</vt:lpstr>
      <vt:lpstr>Things on the horizon to stay engaged and focused on</vt:lpstr>
      <vt:lpstr>Potential Securities and Exchange Commission  Regul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ly Chain Capability – Integration Workshop Planning</dc:title>
  <dc:creator>Simmers, Mendy</dc:creator>
  <cp:lastModifiedBy>Debbie Knaack</cp:lastModifiedBy>
  <cp:revision>39</cp:revision>
  <cp:lastPrinted>2022-06-05T07:08:57Z</cp:lastPrinted>
  <dcterms:created xsi:type="dcterms:W3CDTF">2022-02-22T20:28:03Z</dcterms:created>
  <dcterms:modified xsi:type="dcterms:W3CDTF">2022-06-05T07:1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DE7606B77BE04E9F08A7E8DFDC24F6</vt:lpwstr>
  </property>
</Properties>
</file>